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5.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sldIdLst>
    <p:sldId id="256" r:id="rId2"/>
    <p:sldId id="1692" r:id="rId3"/>
    <p:sldId id="258" r:id="rId4"/>
    <p:sldId id="1744" r:id="rId5"/>
    <p:sldId id="1688" r:id="rId6"/>
    <p:sldId id="1731" r:id="rId7"/>
    <p:sldId id="1732" r:id="rId8"/>
    <p:sldId id="1745" r:id="rId9"/>
    <p:sldId id="1689" r:id="rId10"/>
    <p:sldId id="293" r:id="rId11"/>
    <p:sldId id="1741" r:id="rId12"/>
    <p:sldId id="1746" r:id="rId13"/>
    <p:sldId id="1724" r:id="rId14"/>
    <p:sldId id="1742" r:id="rId15"/>
    <p:sldId id="1747" r:id="rId16"/>
    <p:sldId id="261" r:id="rId17"/>
  </p:sldIdLst>
  <p:sldSz cx="12192000" cy="6858000"/>
  <p:notesSz cx="6858000" cy="9144000"/>
  <p:custDataLst>
    <p:tags r:id="rId1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534"/>
    <a:srgbClr val="FFDA93"/>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86" d="100"/>
          <a:sy n="86" d="100"/>
        </p:scale>
        <p:origin x="397" y="58"/>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84" name="组合 83">
            <a:extLst>
              <a:ext uri="{FF2B5EF4-FFF2-40B4-BE49-F238E27FC236}">
                <a16:creationId xmlns:a16="http://schemas.microsoft.com/office/drawing/2014/main" id="{2E71AFF0-51C4-452D-B6AD-23880F2D47E3}"/>
              </a:ext>
            </a:extLst>
          </p:cNvPr>
          <p:cNvGrpSpPr/>
          <p:nvPr userDrawn="1"/>
        </p:nvGrpSpPr>
        <p:grpSpPr>
          <a:xfrm>
            <a:off x="-2" y="-6350"/>
            <a:ext cx="12192004" cy="6904451"/>
            <a:chOff x="-2" y="-6350"/>
            <a:chExt cx="12192004" cy="6904451"/>
          </a:xfrm>
        </p:grpSpPr>
        <p:sp>
          <p:nvSpPr>
            <p:cNvPr id="9" name="矩形 8">
              <a:extLst>
                <a:ext uri="{FF2B5EF4-FFF2-40B4-BE49-F238E27FC236}">
                  <a16:creationId xmlns:a16="http://schemas.microsoft.com/office/drawing/2014/main" id="{B626489A-82D2-4E68-B2E4-F8D96B699BDD}"/>
                </a:ext>
              </a:extLst>
            </p:cNvPr>
            <p:cNvSpPr/>
            <p:nvPr userDrawn="1"/>
          </p:nvSpPr>
          <p:spPr>
            <a:xfrm>
              <a:off x="-1" y="4686301"/>
              <a:ext cx="12192000" cy="2171700"/>
            </a:xfrm>
            <a:prstGeom prst="rect">
              <a:avLst/>
            </a:prstGeom>
            <a:gradFill>
              <a:gsLst>
                <a:gs pos="100000">
                  <a:schemeClr val="accent2"/>
                </a:gs>
                <a:gs pos="0">
                  <a:schemeClr val="accent3"/>
                </a:gs>
                <a:gs pos="42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10797F46-302E-4272-9471-462A03D19D84}"/>
                </a:ext>
              </a:extLst>
            </p:cNvPr>
            <p:cNvSpPr/>
            <p:nvPr userDrawn="1"/>
          </p:nvSpPr>
          <p:spPr>
            <a:xfrm>
              <a:off x="0" y="0"/>
              <a:ext cx="12192000" cy="4686301"/>
            </a:xfrm>
            <a:prstGeom prst="rect">
              <a:avLst/>
            </a:prstGeom>
            <a:gradFill>
              <a:gsLst>
                <a:gs pos="0">
                  <a:schemeClr val="accent1"/>
                </a:gs>
                <a:gs pos="43000">
                  <a:schemeClr val="accent3"/>
                </a:gs>
                <a:gs pos="100000">
                  <a:schemeClr val="accent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95" name="AutoShape 29">
              <a:extLst>
                <a:ext uri="{FF2B5EF4-FFF2-40B4-BE49-F238E27FC236}">
                  <a16:creationId xmlns:a16="http://schemas.microsoft.com/office/drawing/2014/main" id="{CBE168EA-A05C-4AEB-992A-A330EEAD43B6}"/>
                </a:ext>
              </a:extLst>
            </p:cNvPr>
            <p:cNvSpPr>
              <a:spLocks noChangeAspect="1" noChangeArrowheads="1" noTextEdit="1"/>
            </p:cNvSpPr>
            <p:nvPr userDrawn="1"/>
          </p:nvSpPr>
          <p:spPr bwMode="auto">
            <a:xfrm>
              <a:off x="2122488" y="841375"/>
              <a:ext cx="3905250" cy="207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9797" name="直接连接符 9796">
              <a:extLst>
                <a:ext uri="{FF2B5EF4-FFF2-40B4-BE49-F238E27FC236}">
                  <a16:creationId xmlns:a16="http://schemas.microsoft.com/office/drawing/2014/main" id="{19953AE8-1FA6-4FDE-94AF-BBDECA6087A6}"/>
                </a:ext>
              </a:extLst>
            </p:cNvPr>
            <p:cNvCxnSpPr>
              <a:cxnSpLocks/>
            </p:cNvCxnSpPr>
            <p:nvPr userDrawn="1"/>
          </p:nvCxnSpPr>
          <p:spPr>
            <a:xfrm>
              <a:off x="2797176" y="1077318"/>
              <a:ext cx="3367088" cy="1574135"/>
            </a:xfrm>
            <a:prstGeom prst="line">
              <a:avLst/>
            </a:prstGeom>
            <a:ln w="38100" cap="rnd">
              <a:gradFill>
                <a:gsLst>
                  <a:gs pos="47000">
                    <a:srgbClr val="CF6E7A">
                      <a:alpha val="34000"/>
                    </a:srgbClr>
                  </a:gs>
                  <a:gs pos="0">
                    <a:schemeClr val="accent4"/>
                  </a:gs>
                  <a:gs pos="100000">
                    <a:schemeClr val="accent3">
                      <a:alpha val="4700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7" name="Freeform 6">
              <a:extLst>
                <a:ext uri="{FF2B5EF4-FFF2-40B4-BE49-F238E27FC236}">
                  <a16:creationId xmlns:a16="http://schemas.microsoft.com/office/drawing/2014/main" id="{73FDD541-5F90-43FD-AF3D-007723CDABEC}"/>
                </a:ext>
              </a:extLst>
            </p:cNvPr>
            <p:cNvSpPr>
              <a:spLocks/>
            </p:cNvSpPr>
            <p:nvPr userDrawn="1"/>
          </p:nvSpPr>
          <p:spPr bwMode="auto">
            <a:xfrm>
              <a:off x="0" y="3981450"/>
              <a:ext cx="9175750" cy="706438"/>
            </a:xfrm>
            <a:custGeom>
              <a:avLst/>
              <a:gdLst>
                <a:gd name="T0" fmla="*/ 1379 w 5780"/>
                <a:gd name="T1" fmla="*/ 0 h 445"/>
                <a:gd name="T2" fmla="*/ 0 w 5780"/>
                <a:gd name="T3" fmla="*/ 68 h 445"/>
                <a:gd name="T4" fmla="*/ 0 w 5780"/>
                <a:gd name="T5" fmla="*/ 445 h 445"/>
                <a:gd name="T6" fmla="*/ 5780 w 5780"/>
                <a:gd name="T7" fmla="*/ 445 h 445"/>
                <a:gd name="T8" fmla="*/ 2480 w 5780"/>
                <a:gd name="T9" fmla="*/ 123 h 445"/>
                <a:gd name="T10" fmla="*/ 1379 w 5780"/>
                <a:gd name="T11" fmla="*/ 0 h 445"/>
              </a:gdLst>
              <a:ahLst/>
              <a:cxnLst>
                <a:cxn ang="0">
                  <a:pos x="T0" y="T1"/>
                </a:cxn>
                <a:cxn ang="0">
                  <a:pos x="T2" y="T3"/>
                </a:cxn>
                <a:cxn ang="0">
                  <a:pos x="T4" y="T5"/>
                </a:cxn>
                <a:cxn ang="0">
                  <a:pos x="T6" y="T7"/>
                </a:cxn>
                <a:cxn ang="0">
                  <a:pos x="T8" y="T9"/>
                </a:cxn>
                <a:cxn ang="0">
                  <a:pos x="T10" y="T11"/>
                </a:cxn>
              </a:cxnLst>
              <a:rect l="0" t="0" r="r" b="b"/>
              <a:pathLst>
                <a:path w="5780" h="445">
                  <a:moveTo>
                    <a:pt x="1379" y="0"/>
                  </a:moveTo>
                  <a:lnTo>
                    <a:pt x="0" y="68"/>
                  </a:lnTo>
                  <a:lnTo>
                    <a:pt x="0" y="445"/>
                  </a:lnTo>
                  <a:lnTo>
                    <a:pt x="5780" y="445"/>
                  </a:lnTo>
                  <a:lnTo>
                    <a:pt x="2480" y="123"/>
                  </a:lnTo>
                  <a:lnTo>
                    <a:pt x="1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8">
              <a:extLst>
                <a:ext uri="{FF2B5EF4-FFF2-40B4-BE49-F238E27FC236}">
                  <a16:creationId xmlns:a16="http://schemas.microsoft.com/office/drawing/2014/main" id="{411D6C45-7F25-47D6-8E4C-BA12224C2E25}"/>
                </a:ext>
              </a:extLst>
            </p:cNvPr>
            <p:cNvSpPr>
              <a:spLocks/>
            </p:cNvSpPr>
            <p:nvPr userDrawn="1"/>
          </p:nvSpPr>
          <p:spPr bwMode="auto">
            <a:xfrm>
              <a:off x="0" y="2717800"/>
              <a:ext cx="7348538" cy="449263"/>
            </a:xfrm>
            <a:custGeom>
              <a:avLst/>
              <a:gdLst>
                <a:gd name="T0" fmla="*/ 2259 w 4629"/>
                <a:gd name="T1" fmla="*/ 148 h 283"/>
                <a:gd name="T2" fmla="*/ 1980 w 4629"/>
                <a:gd name="T3" fmla="*/ 63 h 283"/>
                <a:gd name="T4" fmla="*/ 0 w 4629"/>
                <a:gd name="T5" fmla="*/ 0 h 283"/>
                <a:gd name="T6" fmla="*/ 0 w 4629"/>
                <a:gd name="T7" fmla="*/ 283 h 283"/>
                <a:gd name="T8" fmla="*/ 1743 w 4629"/>
                <a:gd name="T9" fmla="*/ 186 h 283"/>
                <a:gd name="T10" fmla="*/ 2001 w 4629"/>
                <a:gd name="T11" fmla="*/ 250 h 283"/>
                <a:gd name="T12" fmla="*/ 4629 w 4629"/>
                <a:gd name="T13" fmla="*/ 250 h 283"/>
                <a:gd name="T14" fmla="*/ 2259 w 4629"/>
                <a:gd name="T15" fmla="*/ 148 h 2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29" h="283">
                  <a:moveTo>
                    <a:pt x="2259" y="148"/>
                  </a:moveTo>
                  <a:lnTo>
                    <a:pt x="1980" y="63"/>
                  </a:lnTo>
                  <a:lnTo>
                    <a:pt x="0" y="0"/>
                  </a:lnTo>
                  <a:lnTo>
                    <a:pt x="0" y="283"/>
                  </a:lnTo>
                  <a:lnTo>
                    <a:pt x="1743" y="186"/>
                  </a:lnTo>
                  <a:lnTo>
                    <a:pt x="2001" y="250"/>
                  </a:lnTo>
                  <a:lnTo>
                    <a:pt x="4629" y="250"/>
                  </a:lnTo>
                  <a:lnTo>
                    <a:pt x="2259" y="148"/>
                  </a:ln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9">
              <a:extLst>
                <a:ext uri="{FF2B5EF4-FFF2-40B4-BE49-F238E27FC236}">
                  <a16:creationId xmlns:a16="http://schemas.microsoft.com/office/drawing/2014/main" id="{8EFA8E1E-AF7E-4C82-965A-0D42AEAAA33F}"/>
                </a:ext>
              </a:extLst>
            </p:cNvPr>
            <p:cNvSpPr>
              <a:spLocks/>
            </p:cNvSpPr>
            <p:nvPr userDrawn="1"/>
          </p:nvSpPr>
          <p:spPr bwMode="auto">
            <a:xfrm>
              <a:off x="5481638" y="3208338"/>
              <a:ext cx="6704013" cy="517525"/>
            </a:xfrm>
            <a:custGeom>
              <a:avLst/>
              <a:gdLst>
                <a:gd name="T0" fmla="*/ 1460 w 4223"/>
                <a:gd name="T1" fmla="*/ 199 h 326"/>
                <a:gd name="T2" fmla="*/ 0 w 4223"/>
                <a:gd name="T3" fmla="*/ 301 h 326"/>
                <a:gd name="T4" fmla="*/ 1739 w 4223"/>
                <a:gd name="T5" fmla="*/ 326 h 326"/>
                <a:gd name="T6" fmla="*/ 3097 w 4223"/>
                <a:gd name="T7" fmla="*/ 199 h 326"/>
                <a:gd name="T8" fmla="*/ 4223 w 4223"/>
                <a:gd name="T9" fmla="*/ 254 h 326"/>
                <a:gd name="T10" fmla="*/ 4223 w 4223"/>
                <a:gd name="T11" fmla="*/ 0 h 326"/>
                <a:gd name="T12" fmla="*/ 1460 w 4223"/>
                <a:gd name="T13" fmla="*/ 199 h 326"/>
              </a:gdLst>
              <a:ahLst/>
              <a:cxnLst>
                <a:cxn ang="0">
                  <a:pos x="T0" y="T1"/>
                </a:cxn>
                <a:cxn ang="0">
                  <a:pos x="T2" y="T3"/>
                </a:cxn>
                <a:cxn ang="0">
                  <a:pos x="T4" y="T5"/>
                </a:cxn>
                <a:cxn ang="0">
                  <a:pos x="T6" y="T7"/>
                </a:cxn>
                <a:cxn ang="0">
                  <a:pos x="T8" y="T9"/>
                </a:cxn>
                <a:cxn ang="0">
                  <a:pos x="T10" y="T11"/>
                </a:cxn>
                <a:cxn ang="0">
                  <a:pos x="T12" y="T13"/>
                </a:cxn>
              </a:cxnLst>
              <a:rect l="0" t="0" r="r" b="b"/>
              <a:pathLst>
                <a:path w="4223" h="326">
                  <a:moveTo>
                    <a:pt x="1460" y="199"/>
                  </a:moveTo>
                  <a:lnTo>
                    <a:pt x="0" y="301"/>
                  </a:lnTo>
                  <a:lnTo>
                    <a:pt x="1739" y="326"/>
                  </a:lnTo>
                  <a:lnTo>
                    <a:pt x="3097" y="199"/>
                  </a:lnTo>
                  <a:lnTo>
                    <a:pt x="4223" y="254"/>
                  </a:lnTo>
                  <a:lnTo>
                    <a:pt x="4223" y="0"/>
                  </a:lnTo>
                  <a:lnTo>
                    <a:pt x="1460" y="199"/>
                  </a:ln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0">
              <a:extLst>
                <a:ext uri="{FF2B5EF4-FFF2-40B4-BE49-F238E27FC236}">
                  <a16:creationId xmlns:a16="http://schemas.microsoft.com/office/drawing/2014/main" id="{239B7315-3F2D-4406-9EC6-D520B9FA8635}"/>
                </a:ext>
              </a:extLst>
            </p:cNvPr>
            <p:cNvSpPr>
              <a:spLocks/>
            </p:cNvSpPr>
            <p:nvPr userDrawn="1"/>
          </p:nvSpPr>
          <p:spPr bwMode="auto">
            <a:xfrm>
              <a:off x="9578975" y="673100"/>
              <a:ext cx="87313" cy="66675"/>
            </a:xfrm>
            <a:custGeom>
              <a:avLst/>
              <a:gdLst>
                <a:gd name="T0" fmla="*/ 7 w 13"/>
                <a:gd name="T1" fmla="*/ 0 h 10"/>
                <a:gd name="T2" fmla="*/ 7 w 13"/>
                <a:gd name="T3" fmla="*/ 10 h 10"/>
                <a:gd name="T4" fmla="*/ 7 w 13"/>
                <a:gd name="T5" fmla="*/ 0 h 10"/>
              </a:gdLst>
              <a:ahLst/>
              <a:cxnLst>
                <a:cxn ang="0">
                  <a:pos x="T0" y="T1"/>
                </a:cxn>
                <a:cxn ang="0">
                  <a:pos x="T2" y="T3"/>
                </a:cxn>
                <a:cxn ang="0">
                  <a:pos x="T4" y="T5"/>
                </a:cxn>
              </a:cxnLst>
              <a:rect l="0" t="0" r="r" b="b"/>
              <a:pathLst>
                <a:path w="13" h="10">
                  <a:moveTo>
                    <a:pt x="7" y="0"/>
                  </a:moveTo>
                  <a:cubicBezTo>
                    <a:pt x="0" y="0"/>
                    <a:pt x="0" y="10"/>
                    <a:pt x="7" y="10"/>
                  </a:cubicBezTo>
                  <a:cubicBezTo>
                    <a:pt x="13" y="10"/>
                    <a:pt x="13" y="0"/>
                    <a:pt x="7"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1">
              <a:extLst>
                <a:ext uri="{FF2B5EF4-FFF2-40B4-BE49-F238E27FC236}">
                  <a16:creationId xmlns:a16="http://schemas.microsoft.com/office/drawing/2014/main" id="{53B6FE4A-8F76-439F-8CE5-D2139FB7D927}"/>
                </a:ext>
              </a:extLst>
            </p:cNvPr>
            <p:cNvSpPr>
              <a:spLocks/>
            </p:cNvSpPr>
            <p:nvPr userDrawn="1"/>
          </p:nvSpPr>
          <p:spPr bwMode="auto">
            <a:xfrm>
              <a:off x="5259388" y="550863"/>
              <a:ext cx="80963" cy="60325"/>
            </a:xfrm>
            <a:custGeom>
              <a:avLst/>
              <a:gdLst>
                <a:gd name="T0" fmla="*/ 6 w 12"/>
                <a:gd name="T1" fmla="*/ 0 h 9"/>
                <a:gd name="T2" fmla="*/ 6 w 12"/>
                <a:gd name="T3" fmla="*/ 9 h 9"/>
                <a:gd name="T4" fmla="*/ 6 w 12"/>
                <a:gd name="T5" fmla="*/ 0 h 9"/>
              </a:gdLst>
              <a:ahLst/>
              <a:cxnLst>
                <a:cxn ang="0">
                  <a:pos x="T0" y="T1"/>
                </a:cxn>
                <a:cxn ang="0">
                  <a:pos x="T2" y="T3"/>
                </a:cxn>
                <a:cxn ang="0">
                  <a:pos x="T4" y="T5"/>
                </a:cxn>
              </a:cxnLst>
              <a:rect l="0" t="0" r="r" b="b"/>
              <a:pathLst>
                <a:path w="12" h="9">
                  <a:moveTo>
                    <a:pt x="6" y="0"/>
                  </a:moveTo>
                  <a:cubicBezTo>
                    <a:pt x="0" y="0"/>
                    <a:pt x="0" y="9"/>
                    <a:pt x="6" y="9"/>
                  </a:cubicBezTo>
                  <a:cubicBezTo>
                    <a:pt x="12" y="9"/>
                    <a:pt x="12" y="0"/>
                    <a:pt x="6"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12">
              <a:extLst>
                <a:ext uri="{FF2B5EF4-FFF2-40B4-BE49-F238E27FC236}">
                  <a16:creationId xmlns:a16="http://schemas.microsoft.com/office/drawing/2014/main" id="{1D278F2E-C27D-4724-9170-3D509041A740}"/>
                </a:ext>
              </a:extLst>
            </p:cNvPr>
            <p:cNvSpPr>
              <a:spLocks/>
            </p:cNvSpPr>
            <p:nvPr userDrawn="1"/>
          </p:nvSpPr>
          <p:spPr bwMode="auto">
            <a:xfrm>
              <a:off x="10996613" y="1614488"/>
              <a:ext cx="80963" cy="60325"/>
            </a:xfrm>
            <a:custGeom>
              <a:avLst/>
              <a:gdLst>
                <a:gd name="T0" fmla="*/ 6 w 12"/>
                <a:gd name="T1" fmla="*/ 0 h 9"/>
                <a:gd name="T2" fmla="*/ 6 w 12"/>
                <a:gd name="T3" fmla="*/ 9 h 9"/>
                <a:gd name="T4" fmla="*/ 6 w 12"/>
                <a:gd name="T5" fmla="*/ 0 h 9"/>
              </a:gdLst>
              <a:ahLst/>
              <a:cxnLst>
                <a:cxn ang="0">
                  <a:pos x="T0" y="T1"/>
                </a:cxn>
                <a:cxn ang="0">
                  <a:pos x="T2" y="T3"/>
                </a:cxn>
                <a:cxn ang="0">
                  <a:pos x="T4" y="T5"/>
                </a:cxn>
              </a:cxnLst>
              <a:rect l="0" t="0" r="r" b="b"/>
              <a:pathLst>
                <a:path w="12" h="9">
                  <a:moveTo>
                    <a:pt x="6" y="0"/>
                  </a:moveTo>
                  <a:cubicBezTo>
                    <a:pt x="0" y="0"/>
                    <a:pt x="0" y="9"/>
                    <a:pt x="6" y="9"/>
                  </a:cubicBezTo>
                  <a:cubicBezTo>
                    <a:pt x="12" y="9"/>
                    <a:pt x="12" y="0"/>
                    <a:pt x="6"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13">
              <a:extLst>
                <a:ext uri="{FF2B5EF4-FFF2-40B4-BE49-F238E27FC236}">
                  <a16:creationId xmlns:a16="http://schemas.microsoft.com/office/drawing/2014/main" id="{699F1D2F-6E8E-411A-9857-F5811E5D7937}"/>
                </a:ext>
              </a:extLst>
            </p:cNvPr>
            <p:cNvSpPr>
              <a:spLocks/>
            </p:cNvSpPr>
            <p:nvPr userDrawn="1"/>
          </p:nvSpPr>
          <p:spPr bwMode="auto">
            <a:xfrm>
              <a:off x="8053388" y="531813"/>
              <a:ext cx="53975" cy="33338"/>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14">
              <a:extLst>
                <a:ext uri="{FF2B5EF4-FFF2-40B4-BE49-F238E27FC236}">
                  <a16:creationId xmlns:a16="http://schemas.microsoft.com/office/drawing/2014/main" id="{1E8913AD-3907-471F-8E5A-0A9941AF35FD}"/>
                </a:ext>
              </a:extLst>
            </p:cNvPr>
            <p:cNvSpPr>
              <a:spLocks/>
            </p:cNvSpPr>
            <p:nvPr userDrawn="1"/>
          </p:nvSpPr>
          <p:spPr bwMode="auto">
            <a:xfrm>
              <a:off x="4103688" y="-6350"/>
              <a:ext cx="53975" cy="39688"/>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15">
              <a:extLst>
                <a:ext uri="{FF2B5EF4-FFF2-40B4-BE49-F238E27FC236}">
                  <a16:creationId xmlns:a16="http://schemas.microsoft.com/office/drawing/2014/main" id="{3F3940D7-A7DF-4188-94B5-7BF74A0B4BFC}"/>
                </a:ext>
              </a:extLst>
            </p:cNvPr>
            <p:cNvSpPr>
              <a:spLocks/>
            </p:cNvSpPr>
            <p:nvPr userDrawn="1"/>
          </p:nvSpPr>
          <p:spPr bwMode="auto">
            <a:xfrm>
              <a:off x="839788" y="1062038"/>
              <a:ext cx="53975" cy="41275"/>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rgbClr val="AE53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16">
              <a:extLst>
                <a:ext uri="{FF2B5EF4-FFF2-40B4-BE49-F238E27FC236}">
                  <a16:creationId xmlns:a16="http://schemas.microsoft.com/office/drawing/2014/main" id="{7D70ACA6-44D1-494C-921F-A288BF75A8DF}"/>
                </a:ext>
              </a:extLst>
            </p:cNvPr>
            <p:cNvSpPr>
              <a:spLocks/>
            </p:cNvSpPr>
            <p:nvPr userDrawn="1"/>
          </p:nvSpPr>
          <p:spPr bwMode="auto">
            <a:xfrm>
              <a:off x="11418888" y="322263"/>
              <a:ext cx="47625" cy="41275"/>
            </a:xfrm>
            <a:custGeom>
              <a:avLst/>
              <a:gdLst>
                <a:gd name="T0" fmla="*/ 4 w 7"/>
                <a:gd name="T1" fmla="*/ 0 h 6"/>
                <a:gd name="T2" fmla="*/ 4 w 7"/>
                <a:gd name="T3" fmla="*/ 6 h 6"/>
                <a:gd name="T4" fmla="*/ 4 w 7"/>
                <a:gd name="T5" fmla="*/ 0 h 6"/>
              </a:gdLst>
              <a:ahLst/>
              <a:cxnLst>
                <a:cxn ang="0">
                  <a:pos x="T0" y="T1"/>
                </a:cxn>
                <a:cxn ang="0">
                  <a:pos x="T2" y="T3"/>
                </a:cxn>
                <a:cxn ang="0">
                  <a:pos x="T4" y="T5"/>
                </a:cxn>
              </a:cxnLst>
              <a:rect l="0" t="0" r="r" b="b"/>
              <a:pathLst>
                <a:path w="7" h="6">
                  <a:moveTo>
                    <a:pt x="4" y="0"/>
                  </a:moveTo>
                  <a:cubicBezTo>
                    <a:pt x="0" y="0"/>
                    <a:pt x="0" y="6"/>
                    <a:pt x="4" y="6"/>
                  </a:cubicBezTo>
                  <a:cubicBezTo>
                    <a:pt x="7" y="6"/>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a16="http://schemas.microsoft.com/office/drawing/2014/main" id="{371B9EE4-8B0F-4473-9976-30529B267715}"/>
                </a:ext>
              </a:extLst>
            </p:cNvPr>
            <p:cNvSpPr>
              <a:spLocks/>
            </p:cNvSpPr>
            <p:nvPr userDrawn="1"/>
          </p:nvSpPr>
          <p:spPr bwMode="auto">
            <a:xfrm>
              <a:off x="8766175" y="1801813"/>
              <a:ext cx="53975" cy="34925"/>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rgbClr val="AE53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18">
              <a:extLst>
                <a:ext uri="{FF2B5EF4-FFF2-40B4-BE49-F238E27FC236}">
                  <a16:creationId xmlns:a16="http://schemas.microsoft.com/office/drawing/2014/main" id="{FF67E49D-B499-44E7-B13E-ACA840671C2C}"/>
                </a:ext>
              </a:extLst>
            </p:cNvPr>
            <p:cNvSpPr>
              <a:spLocks/>
            </p:cNvSpPr>
            <p:nvPr userDrawn="1"/>
          </p:nvSpPr>
          <p:spPr bwMode="auto">
            <a:xfrm>
              <a:off x="9807575" y="2724150"/>
              <a:ext cx="53975" cy="39688"/>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19">
              <a:extLst>
                <a:ext uri="{FF2B5EF4-FFF2-40B4-BE49-F238E27FC236}">
                  <a16:creationId xmlns:a16="http://schemas.microsoft.com/office/drawing/2014/main" id="{63BE97A4-8FD2-4E90-BEC1-B652663E1F10}"/>
                </a:ext>
              </a:extLst>
            </p:cNvPr>
            <p:cNvSpPr>
              <a:spLocks/>
            </p:cNvSpPr>
            <p:nvPr userDrawn="1"/>
          </p:nvSpPr>
          <p:spPr bwMode="auto">
            <a:xfrm>
              <a:off x="2222500" y="2709863"/>
              <a:ext cx="47625" cy="41275"/>
            </a:xfrm>
            <a:custGeom>
              <a:avLst/>
              <a:gdLst>
                <a:gd name="T0" fmla="*/ 3 w 7"/>
                <a:gd name="T1" fmla="*/ 0 h 6"/>
                <a:gd name="T2" fmla="*/ 3 w 7"/>
                <a:gd name="T3" fmla="*/ 6 h 6"/>
                <a:gd name="T4" fmla="*/ 3 w 7"/>
                <a:gd name="T5" fmla="*/ 0 h 6"/>
              </a:gdLst>
              <a:ahLst/>
              <a:cxnLst>
                <a:cxn ang="0">
                  <a:pos x="T0" y="T1"/>
                </a:cxn>
                <a:cxn ang="0">
                  <a:pos x="T2" y="T3"/>
                </a:cxn>
                <a:cxn ang="0">
                  <a:pos x="T4" y="T5"/>
                </a:cxn>
              </a:cxnLst>
              <a:rect l="0" t="0" r="r" b="b"/>
              <a:pathLst>
                <a:path w="7" h="6">
                  <a:moveTo>
                    <a:pt x="3" y="0"/>
                  </a:moveTo>
                  <a:cubicBezTo>
                    <a:pt x="0" y="0"/>
                    <a:pt x="0" y="6"/>
                    <a:pt x="3" y="6"/>
                  </a:cubicBezTo>
                  <a:cubicBezTo>
                    <a:pt x="7" y="6"/>
                    <a:pt x="7" y="0"/>
                    <a:pt x="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20">
              <a:extLst>
                <a:ext uri="{FF2B5EF4-FFF2-40B4-BE49-F238E27FC236}">
                  <a16:creationId xmlns:a16="http://schemas.microsoft.com/office/drawing/2014/main" id="{081B7378-D04E-4FA0-A8D0-939B8CA4EDBF}"/>
                </a:ext>
              </a:extLst>
            </p:cNvPr>
            <p:cNvSpPr>
              <a:spLocks/>
            </p:cNvSpPr>
            <p:nvPr userDrawn="1"/>
          </p:nvSpPr>
          <p:spPr bwMode="auto">
            <a:xfrm>
              <a:off x="1914525" y="261938"/>
              <a:ext cx="46038" cy="39688"/>
            </a:xfrm>
            <a:custGeom>
              <a:avLst/>
              <a:gdLst>
                <a:gd name="T0" fmla="*/ 4 w 7"/>
                <a:gd name="T1" fmla="*/ 0 h 6"/>
                <a:gd name="T2" fmla="*/ 4 w 7"/>
                <a:gd name="T3" fmla="*/ 6 h 6"/>
                <a:gd name="T4" fmla="*/ 4 w 7"/>
                <a:gd name="T5" fmla="*/ 0 h 6"/>
              </a:gdLst>
              <a:ahLst/>
              <a:cxnLst>
                <a:cxn ang="0">
                  <a:pos x="T0" y="T1"/>
                </a:cxn>
                <a:cxn ang="0">
                  <a:pos x="T2" y="T3"/>
                </a:cxn>
                <a:cxn ang="0">
                  <a:pos x="T4" y="T5"/>
                </a:cxn>
              </a:cxnLst>
              <a:rect l="0" t="0" r="r" b="b"/>
              <a:pathLst>
                <a:path w="7" h="6">
                  <a:moveTo>
                    <a:pt x="4" y="0"/>
                  </a:moveTo>
                  <a:cubicBezTo>
                    <a:pt x="0" y="0"/>
                    <a:pt x="0" y="6"/>
                    <a:pt x="4" y="6"/>
                  </a:cubicBezTo>
                  <a:cubicBezTo>
                    <a:pt x="7" y="6"/>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21">
              <a:extLst>
                <a:ext uri="{FF2B5EF4-FFF2-40B4-BE49-F238E27FC236}">
                  <a16:creationId xmlns:a16="http://schemas.microsoft.com/office/drawing/2014/main" id="{1C3A0A01-725B-4093-81F7-022CFE38830F}"/>
                </a:ext>
              </a:extLst>
            </p:cNvPr>
            <p:cNvSpPr>
              <a:spLocks/>
            </p:cNvSpPr>
            <p:nvPr userDrawn="1"/>
          </p:nvSpPr>
          <p:spPr bwMode="auto">
            <a:xfrm>
              <a:off x="6462713" y="201613"/>
              <a:ext cx="52388" cy="33338"/>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22">
              <a:extLst>
                <a:ext uri="{FF2B5EF4-FFF2-40B4-BE49-F238E27FC236}">
                  <a16:creationId xmlns:a16="http://schemas.microsoft.com/office/drawing/2014/main" id="{27AD61AE-BF59-44BC-A5BE-762FEFBD3697}"/>
                </a:ext>
              </a:extLst>
            </p:cNvPr>
            <p:cNvSpPr>
              <a:spLocks/>
            </p:cNvSpPr>
            <p:nvPr userDrawn="1"/>
          </p:nvSpPr>
          <p:spPr bwMode="auto">
            <a:xfrm>
              <a:off x="9250363" y="1768475"/>
              <a:ext cx="590550" cy="571500"/>
            </a:xfrm>
            <a:custGeom>
              <a:avLst/>
              <a:gdLst>
                <a:gd name="T0" fmla="*/ 50 w 88"/>
                <a:gd name="T1" fmla="*/ 0 h 85"/>
                <a:gd name="T2" fmla="*/ 33 w 88"/>
                <a:gd name="T3" fmla="*/ 3 h 85"/>
                <a:gd name="T4" fmla="*/ 9 w 88"/>
                <a:gd name="T5" fmla="*/ 58 h 85"/>
                <a:gd name="T6" fmla="*/ 50 w 88"/>
                <a:gd name="T7" fmla="*/ 85 h 85"/>
                <a:gd name="T8" fmla="*/ 66 w 88"/>
                <a:gd name="T9" fmla="*/ 82 h 85"/>
                <a:gd name="T10" fmla="*/ 88 w 88"/>
                <a:gd name="T11" fmla="*/ 63 h 85"/>
                <a:gd name="T12" fmla="*/ 73 w 88"/>
                <a:gd name="T13" fmla="*/ 73 h 85"/>
                <a:gd name="T14" fmla="*/ 59 w 88"/>
                <a:gd name="T15" fmla="*/ 76 h 85"/>
                <a:gd name="T16" fmla="*/ 22 w 88"/>
                <a:gd name="T17" fmla="*/ 52 h 85"/>
                <a:gd name="T18" fmla="*/ 44 w 88"/>
                <a:gd name="T19" fmla="*/ 3 h 85"/>
                <a:gd name="T20" fmla="*/ 54 w 88"/>
                <a:gd name="T21" fmla="*/ 0 h 85"/>
                <a:gd name="T22" fmla="*/ 50 w 88"/>
                <a:gd name="T2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85">
                  <a:moveTo>
                    <a:pt x="50" y="0"/>
                  </a:moveTo>
                  <a:cubicBezTo>
                    <a:pt x="44" y="0"/>
                    <a:pt x="39" y="1"/>
                    <a:pt x="33" y="3"/>
                  </a:cubicBezTo>
                  <a:cubicBezTo>
                    <a:pt x="11" y="12"/>
                    <a:pt x="0" y="36"/>
                    <a:pt x="9" y="58"/>
                  </a:cubicBezTo>
                  <a:cubicBezTo>
                    <a:pt x="16" y="74"/>
                    <a:pt x="32" y="85"/>
                    <a:pt x="50" y="85"/>
                  </a:cubicBezTo>
                  <a:cubicBezTo>
                    <a:pt x="55" y="85"/>
                    <a:pt x="61" y="84"/>
                    <a:pt x="66" y="82"/>
                  </a:cubicBezTo>
                  <a:cubicBezTo>
                    <a:pt x="75" y="78"/>
                    <a:pt x="83" y="71"/>
                    <a:pt x="88" y="63"/>
                  </a:cubicBezTo>
                  <a:cubicBezTo>
                    <a:pt x="84" y="67"/>
                    <a:pt x="79" y="71"/>
                    <a:pt x="73" y="73"/>
                  </a:cubicBezTo>
                  <a:cubicBezTo>
                    <a:pt x="68" y="75"/>
                    <a:pt x="64" y="76"/>
                    <a:pt x="59" y="76"/>
                  </a:cubicBezTo>
                  <a:cubicBezTo>
                    <a:pt x="43" y="76"/>
                    <a:pt x="28" y="67"/>
                    <a:pt x="22" y="52"/>
                  </a:cubicBezTo>
                  <a:cubicBezTo>
                    <a:pt x="14" y="32"/>
                    <a:pt x="24" y="10"/>
                    <a:pt x="44" y="3"/>
                  </a:cubicBezTo>
                  <a:cubicBezTo>
                    <a:pt x="48" y="1"/>
                    <a:pt x="51" y="1"/>
                    <a:pt x="54" y="0"/>
                  </a:cubicBezTo>
                  <a:cubicBezTo>
                    <a:pt x="53" y="0"/>
                    <a:pt x="51" y="0"/>
                    <a:pt x="50" y="0"/>
                  </a:cubicBezTo>
                </a:path>
              </a:pathLst>
            </a:custGeom>
            <a:solidFill>
              <a:schemeClr val="accent4">
                <a:alpha val="2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Freeform 5">
              <a:extLst>
                <a:ext uri="{FF2B5EF4-FFF2-40B4-BE49-F238E27FC236}">
                  <a16:creationId xmlns:a16="http://schemas.microsoft.com/office/drawing/2014/main" id="{F0465DAB-88A1-4A7C-9C6B-22B7437F9946}"/>
                </a:ext>
              </a:extLst>
            </p:cNvPr>
            <p:cNvSpPr>
              <a:spLocks/>
            </p:cNvSpPr>
            <p:nvPr userDrawn="1"/>
          </p:nvSpPr>
          <p:spPr bwMode="auto">
            <a:xfrm>
              <a:off x="0" y="3981450"/>
              <a:ext cx="9175750" cy="706438"/>
            </a:xfrm>
            <a:custGeom>
              <a:avLst/>
              <a:gdLst>
                <a:gd name="T0" fmla="*/ 1379 w 5780"/>
                <a:gd name="T1" fmla="*/ 0 h 445"/>
                <a:gd name="T2" fmla="*/ 0 w 5780"/>
                <a:gd name="T3" fmla="*/ 68 h 445"/>
                <a:gd name="T4" fmla="*/ 0 w 5780"/>
                <a:gd name="T5" fmla="*/ 445 h 445"/>
                <a:gd name="T6" fmla="*/ 5780 w 5780"/>
                <a:gd name="T7" fmla="*/ 445 h 445"/>
                <a:gd name="T8" fmla="*/ 2480 w 5780"/>
                <a:gd name="T9" fmla="*/ 123 h 445"/>
                <a:gd name="T10" fmla="*/ 1379 w 5780"/>
                <a:gd name="T11" fmla="*/ 0 h 445"/>
              </a:gdLst>
              <a:ahLst/>
              <a:cxnLst>
                <a:cxn ang="0">
                  <a:pos x="T0" y="T1"/>
                </a:cxn>
                <a:cxn ang="0">
                  <a:pos x="T2" y="T3"/>
                </a:cxn>
                <a:cxn ang="0">
                  <a:pos x="T4" y="T5"/>
                </a:cxn>
                <a:cxn ang="0">
                  <a:pos x="T6" y="T7"/>
                </a:cxn>
                <a:cxn ang="0">
                  <a:pos x="T8" y="T9"/>
                </a:cxn>
                <a:cxn ang="0">
                  <a:pos x="T10" y="T11"/>
                </a:cxn>
              </a:cxnLst>
              <a:rect l="0" t="0" r="r" b="b"/>
              <a:pathLst>
                <a:path w="5780" h="445">
                  <a:moveTo>
                    <a:pt x="1379" y="0"/>
                  </a:moveTo>
                  <a:lnTo>
                    <a:pt x="0" y="68"/>
                  </a:lnTo>
                  <a:lnTo>
                    <a:pt x="0" y="445"/>
                  </a:lnTo>
                  <a:lnTo>
                    <a:pt x="5780" y="445"/>
                  </a:lnTo>
                  <a:lnTo>
                    <a:pt x="2480" y="123"/>
                  </a:lnTo>
                  <a:lnTo>
                    <a:pt x="1379" y="0"/>
                  </a:lnTo>
                  <a:close/>
                </a:path>
              </a:pathLst>
            </a:custGeom>
            <a:gradFill>
              <a:gsLst>
                <a:gs pos="100000">
                  <a:schemeClr val="accent3"/>
                </a:gs>
                <a:gs pos="0">
                  <a:schemeClr val="accent4"/>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7">
              <a:extLst>
                <a:ext uri="{FF2B5EF4-FFF2-40B4-BE49-F238E27FC236}">
                  <a16:creationId xmlns:a16="http://schemas.microsoft.com/office/drawing/2014/main" id="{7C00FBEC-7898-42AA-BFDB-B12299B80468}"/>
                </a:ext>
              </a:extLst>
            </p:cNvPr>
            <p:cNvSpPr>
              <a:spLocks/>
            </p:cNvSpPr>
            <p:nvPr userDrawn="1"/>
          </p:nvSpPr>
          <p:spPr bwMode="auto">
            <a:xfrm>
              <a:off x="2760663" y="4102100"/>
              <a:ext cx="9424988" cy="585788"/>
            </a:xfrm>
            <a:custGeom>
              <a:avLst/>
              <a:gdLst>
                <a:gd name="T0" fmla="*/ 5937 w 5937"/>
                <a:gd name="T1" fmla="*/ 369 h 369"/>
                <a:gd name="T2" fmla="*/ 5937 w 5937"/>
                <a:gd name="T3" fmla="*/ 0 h 369"/>
                <a:gd name="T4" fmla="*/ 4325 w 5937"/>
                <a:gd name="T5" fmla="*/ 64 h 369"/>
                <a:gd name="T6" fmla="*/ 3351 w 5937"/>
                <a:gd name="T7" fmla="*/ 17 h 369"/>
                <a:gd name="T8" fmla="*/ 0 w 5937"/>
                <a:gd name="T9" fmla="*/ 369 h 369"/>
                <a:gd name="T10" fmla="*/ 5937 w 5937"/>
                <a:gd name="T11" fmla="*/ 369 h 369"/>
              </a:gdLst>
              <a:ahLst/>
              <a:cxnLst>
                <a:cxn ang="0">
                  <a:pos x="T0" y="T1"/>
                </a:cxn>
                <a:cxn ang="0">
                  <a:pos x="T2" y="T3"/>
                </a:cxn>
                <a:cxn ang="0">
                  <a:pos x="T4" y="T5"/>
                </a:cxn>
                <a:cxn ang="0">
                  <a:pos x="T6" y="T7"/>
                </a:cxn>
                <a:cxn ang="0">
                  <a:pos x="T8" y="T9"/>
                </a:cxn>
                <a:cxn ang="0">
                  <a:pos x="T10" y="T11"/>
                </a:cxn>
              </a:cxnLst>
              <a:rect l="0" t="0" r="r" b="b"/>
              <a:pathLst>
                <a:path w="5937" h="369">
                  <a:moveTo>
                    <a:pt x="5937" y="369"/>
                  </a:moveTo>
                  <a:lnTo>
                    <a:pt x="5937" y="0"/>
                  </a:lnTo>
                  <a:lnTo>
                    <a:pt x="4325" y="64"/>
                  </a:lnTo>
                  <a:lnTo>
                    <a:pt x="3351" y="17"/>
                  </a:lnTo>
                  <a:lnTo>
                    <a:pt x="0" y="369"/>
                  </a:lnTo>
                  <a:lnTo>
                    <a:pt x="5937" y="369"/>
                  </a:lnTo>
                  <a:close/>
                </a:path>
              </a:pathLst>
            </a:custGeom>
            <a:gradFill>
              <a:gsLst>
                <a:gs pos="100000">
                  <a:schemeClr val="accent3"/>
                </a:gs>
                <a:gs pos="0">
                  <a:schemeClr val="accent4"/>
                </a:gs>
              </a:gsLst>
              <a:lin ang="162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6" name="Rectangle 110">
              <a:extLst>
                <a:ext uri="{FF2B5EF4-FFF2-40B4-BE49-F238E27FC236}">
                  <a16:creationId xmlns:a16="http://schemas.microsoft.com/office/drawing/2014/main" id="{104AEB90-03A3-4D33-8FFA-41D59B8C4501}"/>
                </a:ext>
              </a:extLst>
            </p:cNvPr>
            <p:cNvSpPr>
              <a:spLocks noChangeArrowheads="1"/>
            </p:cNvSpPr>
            <p:nvPr userDrawn="1"/>
          </p:nvSpPr>
          <p:spPr bwMode="auto">
            <a:xfrm>
              <a:off x="11114" y="5907501"/>
              <a:ext cx="12180888" cy="990600"/>
            </a:xfrm>
            <a:prstGeom prst="rect">
              <a:avLst/>
            </a:prstGeom>
            <a:solidFill>
              <a:schemeClr val="accent2">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7" name="Rectangle 111">
              <a:extLst>
                <a:ext uri="{FF2B5EF4-FFF2-40B4-BE49-F238E27FC236}">
                  <a16:creationId xmlns:a16="http://schemas.microsoft.com/office/drawing/2014/main" id="{40487CDB-A645-404B-AF99-577E39971850}"/>
                </a:ext>
              </a:extLst>
            </p:cNvPr>
            <p:cNvSpPr>
              <a:spLocks noChangeArrowheads="1"/>
            </p:cNvSpPr>
            <p:nvPr userDrawn="1"/>
          </p:nvSpPr>
          <p:spPr bwMode="auto">
            <a:xfrm>
              <a:off x="-2" y="5253995"/>
              <a:ext cx="12180888" cy="565150"/>
            </a:xfrm>
            <a:prstGeom prst="rect">
              <a:avLst/>
            </a:prstGeom>
            <a:solidFill>
              <a:schemeClr val="accent1">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8" name="Rectangle 112">
              <a:extLst>
                <a:ext uri="{FF2B5EF4-FFF2-40B4-BE49-F238E27FC236}">
                  <a16:creationId xmlns:a16="http://schemas.microsoft.com/office/drawing/2014/main" id="{1DED212E-8447-4026-8229-E455CCEC2EDC}"/>
                </a:ext>
              </a:extLst>
            </p:cNvPr>
            <p:cNvSpPr>
              <a:spLocks noChangeArrowheads="1"/>
            </p:cNvSpPr>
            <p:nvPr userDrawn="1"/>
          </p:nvSpPr>
          <p:spPr bwMode="auto">
            <a:xfrm>
              <a:off x="-2" y="4846008"/>
              <a:ext cx="12180888" cy="407988"/>
            </a:xfrm>
            <a:prstGeom prst="rect">
              <a:avLst/>
            </a:prstGeom>
            <a:solidFill>
              <a:schemeClr val="accent3">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9" name="Rectangle 113">
              <a:extLst>
                <a:ext uri="{FF2B5EF4-FFF2-40B4-BE49-F238E27FC236}">
                  <a16:creationId xmlns:a16="http://schemas.microsoft.com/office/drawing/2014/main" id="{E4E447EA-F52C-426B-8834-8B465B5A3119}"/>
                </a:ext>
              </a:extLst>
            </p:cNvPr>
            <p:cNvSpPr>
              <a:spLocks noChangeArrowheads="1"/>
            </p:cNvSpPr>
            <p:nvPr userDrawn="1"/>
          </p:nvSpPr>
          <p:spPr bwMode="auto">
            <a:xfrm>
              <a:off x="-2" y="4630108"/>
              <a:ext cx="12180888" cy="2159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2" name="Freeform 40">
              <a:extLst>
                <a:ext uri="{FF2B5EF4-FFF2-40B4-BE49-F238E27FC236}">
                  <a16:creationId xmlns:a16="http://schemas.microsoft.com/office/drawing/2014/main" id="{672C9C0B-D71D-4111-A7AE-8FA0074A0E0A}"/>
                </a:ext>
              </a:extLst>
            </p:cNvPr>
            <p:cNvSpPr>
              <a:spLocks/>
            </p:cNvSpPr>
            <p:nvPr userDrawn="1"/>
          </p:nvSpPr>
          <p:spPr bwMode="auto">
            <a:xfrm>
              <a:off x="982208" y="5565088"/>
              <a:ext cx="1560244" cy="705537"/>
            </a:xfrm>
            <a:custGeom>
              <a:avLst/>
              <a:gdLst>
                <a:gd name="T0" fmla="*/ 515 w 774"/>
                <a:gd name="T1" fmla="*/ 350 h 350"/>
                <a:gd name="T2" fmla="*/ 0 w 774"/>
                <a:gd name="T3" fmla="*/ 350 h 350"/>
                <a:gd name="T4" fmla="*/ 431 w 774"/>
                <a:gd name="T5" fmla="*/ 0 h 350"/>
                <a:gd name="T6" fmla="*/ 774 w 774"/>
                <a:gd name="T7" fmla="*/ 0 h 350"/>
                <a:gd name="T8" fmla="*/ 515 w 774"/>
                <a:gd name="T9" fmla="*/ 350 h 350"/>
              </a:gdLst>
              <a:ahLst/>
              <a:cxnLst>
                <a:cxn ang="0">
                  <a:pos x="T0" y="T1"/>
                </a:cxn>
                <a:cxn ang="0">
                  <a:pos x="T2" y="T3"/>
                </a:cxn>
                <a:cxn ang="0">
                  <a:pos x="T4" y="T5"/>
                </a:cxn>
                <a:cxn ang="0">
                  <a:pos x="T6" y="T7"/>
                </a:cxn>
                <a:cxn ang="0">
                  <a:pos x="T8" y="T9"/>
                </a:cxn>
              </a:cxnLst>
              <a:rect l="0" t="0" r="r" b="b"/>
              <a:pathLst>
                <a:path w="774" h="350">
                  <a:moveTo>
                    <a:pt x="515" y="350"/>
                  </a:moveTo>
                  <a:lnTo>
                    <a:pt x="0" y="350"/>
                  </a:lnTo>
                  <a:lnTo>
                    <a:pt x="431" y="0"/>
                  </a:lnTo>
                  <a:lnTo>
                    <a:pt x="774" y="0"/>
                  </a:lnTo>
                  <a:lnTo>
                    <a:pt x="515" y="350"/>
                  </a:lnTo>
                  <a:close/>
                </a:path>
              </a:pathLst>
            </a:custGeom>
            <a:gradFill>
              <a:gsLst>
                <a:gs pos="900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3" name="Freeform 41">
              <a:extLst>
                <a:ext uri="{FF2B5EF4-FFF2-40B4-BE49-F238E27FC236}">
                  <a16:creationId xmlns:a16="http://schemas.microsoft.com/office/drawing/2014/main" id="{2DB9CF71-6690-4122-88AD-5B0455754E3F}"/>
                </a:ext>
              </a:extLst>
            </p:cNvPr>
            <p:cNvSpPr>
              <a:spLocks/>
            </p:cNvSpPr>
            <p:nvPr userDrawn="1"/>
          </p:nvSpPr>
          <p:spPr bwMode="auto">
            <a:xfrm>
              <a:off x="1851027" y="5329237"/>
              <a:ext cx="691426" cy="235851"/>
            </a:xfrm>
            <a:custGeom>
              <a:avLst/>
              <a:gdLst>
                <a:gd name="T0" fmla="*/ 269 w 343"/>
                <a:gd name="T1" fmla="*/ 30 h 117"/>
                <a:gd name="T2" fmla="*/ 119 w 343"/>
                <a:gd name="T3" fmla="*/ 0 h 117"/>
                <a:gd name="T4" fmla="*/ 0 w 343"/>
                <a:gd name="T5" fmla="*/ 117 h 117"/>
                <a:gd name="T6" fmla="*/ 343 w 343"/>
                <a:gd name="T7" fmla="*/ 117 h 117"/>
                <a:gd name="T8" fmla="*/ 269 w 343"/>
                <a:gd name="T9" fmla="*/ 30 h 117"/>
              </a:gdLst>
              <a:ahLst/>
              <a:cxnLst>
                <a:cxn ang="0">
                  <a:pos x="T0" y="T1"/>
                </a:cxn>
                <a:cxn ang="0">
                  <a:pos x="T2" y="T3"/>
                </a:cxn>
                <a:cxn ang="0">
                  <a:pos x="T4" y="T5"/>
                </a:cxn>
                <a:cxn ang="0">
                  <a:pos x="T6" y="T7"/>
                </a:cxn>
                <a:cxn ang="0">
                  <a:pos x="T8" y="T9"/>
                </a:cxn>
              </a:cxnLst>
              <a:rect l="0" t="0" r="r" b="b"/>
              <a:pathLst>
                <a:path w="343" h="117">
                  <a:moveTo>
                    <a:pt x="269" y="30"/>
                  </a:moveTo>
                  <a:lnTo>
                    <a:pt x="119" y="0"/>
                  </a:lnTo>
                  <a:lnTo>
                    <a:pt x="0" y="117"/>
                  </a:lnTo>
                  <a:lnTo>
                    <a:pt x="343" y="117"/>
                  </a:lnTo>
                  <a:lnTo>
                    <a:pt x="269" y="3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4" name="Freeform 42">
              <a:extLst>
                <a:ext uri="{FF2B5EF4-FFF2-40B4-BE49-F238E27FC236}">
                  <a16:creationId xmlns:a16="http://schemas.microsoft.com/office/drawing/2014/main" id="{9C03DE39-11AC-4F54-B9CB-D542135B3930}"/>
                </a:ext>
              </a:extLst>
            </p:cNvPr>
            <p:cNvSpPr>
              <a:spLocks/>
            </p:cNvSpPr>
            <p:nvPr userDrawn="1"/>
          </p:nvSpPr>
          <p:spPr bwMode="auto">
            <a:xfrm>
              <a:off x="1851027" y="5329237"/>
              <a:ext cx="691426" cy="235851"/>
            </a:xfrm>
            <a:custGeom>
              <a:avLst/>
              <a:gdLst>
                <a:gd name="T0" fmla="*/ 269 w 343"/>
                <a:gd name="T1" fmla="*/ 45 h 117"/>
                <a:gd name="T2" fmla="*/ 119 w 343"/>
                <a:gd name="T3" fmla="*/ 0 h 117"/>
                <a:gd name="T4" fmla="*/ 0 w 343"/>
                <a:gd name="T5" fmla="*/ 117 h 117"/>
                <a:gd name="T6" fmla="*/ 343 w 343"/>
                <a:gd name="T7" fmla="*/ 117 h 117"/>
                <a:gd name="T8" fmla="*/ 269 w 343"/>
                <a:gd name="T9" fmla="*/ 45 h 117"/>
              </a:gdLst>
              <a:ahLst/>
              <a:cxnLst>
                <a:cxn ang="0">
                  <a:pos x="T0" y="T1"/>
                </a:cxn>
                <a:cxn ang="0">
                  <a:pos x="T2" y="T3"/>
                </a:cxn>
                <a:cxn ang="0">
                  <a:pos x="T4" y="T5"/>
                </a:cxn>
                <a:cxn ang="0">
                  <a:pos x="T6" y="T7"/>
                </a:cxn>
                <a:cxn ang="0">
                  <a:pos x="T8" y="T9"/>
                </a:cxn>
              </a:cxnLst>
              <a:rect l="0" t="0" r="r" b="b"/>
              <a:pathLst>
                <a:path w="343" h="117">
                  <a:moveTo>
                    <a:pt x="269" y="45"/>
                  </a:moveTo>
                  <a:lnTo>
                    <a:pt x="119" y="0"/>
                  </a:lnTo>
                  <a:lnTo>
                    <a:pt x="0" y="117"/>
                  </a:lnTo>
                  <a:lnTo>
                    <a:pt x="343" y="117"/>
                  </a:lnTo>
                  <a:lnTo>
                    <a:pt x="269" y="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5" name="Freeform 43">
              <a:extLst>
                <a:ext uri="{FF2B5EF4-FFF2-40B4-BE49-F238E27FC236}">
                  <a16:creationId xmlns:a16="http://schemas.microsoft.com/office/drawing/2014/main" id="{BF0273D6-90AA-4170-9F07-05F7EEE448DB}"/>
                </a:ext>
              </a:extLst>
            </p:cNvPr>
            <p:cNvSpPr>
              <a:spLocks/>
            </p:cNvSpPr>
            <p:nvPr userDrawn="1"/>
          </p:nvSpPr>
          <p:spPr bwMode="auto">
            <a:xfrm>
              <a:off x="2483994" y="5710227"/>
              <a:ext cx="362847" cy="114902"/>
            </a:xfrm>
            <a:custGeom>
              <a:avLst/>
              <a:gdLst>
                <a:gd name="T0" fmla="*/ 133 w 180"/>
                <a:gd name="T1" fmla="*/ 0 h 57"/>
                <a:gd name="T2" fmla="*/ 74 w 180"/>
                <a:gd name="T3" fmla="*/ 0 h 57"/>
                <a:gd name="T4" fmla="*/ 0 w 180"/>
                <a:gd name="T5" fmla="*/ 57 h 57"/>
                <a:gd name="T6" fmla="*/ 180 w 180"/>
                <a:gd name="T7" fmla="*/ 57 h 57"/>
                <a:gd name="T8" fmla="*/ 133 w 180"/>
                <a:gd name="T9" fmla="*/ 0 h 57"/>
              </a:gdLst>
              <a:ahLst/>
              <a:cxnLst>
                <a:cxn ang="0">
                  <a:pos x="T0" y="T1"/>
                </a:cxn>
                <a:cxn ang="0">
                  <a:pos x="T2" y="T3"/>
                </a:cxn>
                <a:cxn ang="0">
                  <a:pos x="T4" y="T5"/>
                </a:cxn>
                <a:cxn ang="0">
                  <a:pos x="T6" y="T7"/>
                </a:cxn>
                <a:cxn ang="0">
                  <a:pos x="T8" y="T9"/>
                </a:cxn>
              </a:cxnLst>
              <a:rect l="0" t="0" r="r" b="b"/>
              <a:pathLst>
                <a:path w="180" h="57">
                  <a:moveTo>
                    <a:pt x="133" y="0"/>
                  </a:moveTo>
                  <a:lnTo>
                    <a:pt x="74" y="0"/>
                  </a:lnTo>
                  <a:lnTo>
                    <a:pt x="0" y="57"/>
                  </a:lnTo>
                  <a:lnTo>
                    <a:pt x="180" y="57"/>
                  </a:lnTo>
                  <a:lnTo>
                    <a:pt x="133" y="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6" name="Freeform 44">
              <a:extLst>
                <a:ext uri="{FF2B5EF4-FFF2-40B4-BE49-F238E27FC236}">
                  <a16:creationId xmlns:a16="http://schemas.microsoft.com/office/drawing/2014/main" id="{3B2B0FA4-B467-4DB3-B979-E69505256BFA}"/>
                </a:ext>
              </a:extLst>
            </p:cNvPr>
            <p:cNvSpPr>
              <a:spLocks/>
            </p:cNvSpPr>
            <p:nvPr userDrawn="1"/>
          </p:nvSpPr>
          <p:spPr bwMode="auto">
            <a:xfrm>
              <a:off x="2483994" y="5740464"/>
              <a:ext cx="362847" cy="84664"/>
            </a:xfrm>
            <a:custGeom>
              <a:avLst/>
              <a:gdLst>
                <a:gd name="T0" fmla="*/ 133 w 180"/>
                <a:gd name="T1" fmla="*/ 0 h 42"/>
                <a:gd name="T2" fmla="*/ 74 w 180"/>
                <a:gd name="T3" fmla="*/ 0 h 42"/>
                <a:gd name="T4" fmla="*/ 0 w 180"/>
                <a:gd name="T5" fmla="*/ 42 h 42"/>
                <a:gd name="T6" fmla="*/ 180 w 180"/>
                <a:gd name="T7" fmla="*/ 42 h 42"/>
                <a:gd name="T8" fmla="*/ 133 w 180"/>
                <a:gd name="T9" fmla="*/ 0 h 42"/>
              </a:gdLst>
              <a:ahLst/>
              <a:cxnLst>
                <a:cxn ang="0">
                  <a:pos x="T0" y="T1"/>
                </a:cxn>
                <a:cxn ang="0">
                  <a:pos x="T2" y="T3"/>
                </a:cxn>
                <a:cxn ang="0">
                  <a:pos x="T4" y="T5"/>
                </a:cxn>
                <a:cxn ang="0">
                  <a:pos x="T6" y="T7"/>
                </a:cxn>
                <a:cxn ang="0">
                  <a:pos x="T8" y="T9"/>
                </a:cxn>
              </a:cxnLst>
              <a:rect l="0" t="0" r="r" b="b"/>
              <a:pathLst>
                <a:path w="180" h="42">
                  <a:moveTo>
                    <a:pt x="133" y="0"/>
                  </a:moveTo>
                  <a:lnTo>
                    <a:pt x="74" y="0"/>
                  </a:lnTo>
                  <a:lnTo>
                    <a:pt x="0" y="42"/>
                  </a:lnTo>
                  <a:lnTo>
                    <a:pt x="180" y="42"/>
                  </a:lnTo>
                  <a:lnTo>
                    <a:pt x="13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7" name="Freeform 45">
              <a:extLst>
                <a:ext uri="{FF2B5EF4-FFF2-40B4-BE49-F238E27FC236}">
                  <a16:creationId xmlns:a16="http://schemas.microsoft.com/office/drawing/2014/main" id="{7176286B-4667-4233-8E32-7AF40925F6F3}"/>
                </a:ext>
              </a:extLst>
            </p:cNvPr>
            <p:cNvSpPr>
              <a:spLocks/>
            </p:cNvSpPr>
            <p:nvPr userDrawn="1"/>
          </p:nvSpPr>
          <p:spPr bwMode="auto">
            <a:xfrm>
              <a:off x="2125178" y="5825128"/>
              <a:ext cx="721663" cy="445497"/>
            </a:xfrm>
            <a:custGeom>
              <a:avLst/>
              <a:gdLst>
                <a:gd name="T0" fmla="*/ 249 w 358"/>
                <a:gd name="T1" fmla="*/ 221 h 221"/>
                <a:gd name="T2" fmla="*/ 0 w 358"/>
                <a:gd name="T3" fmla="*/ 221 h 221"/>
                <a:gd name="T4" fmla="*/ 178 w 358"/>
                <a:gd name="T5" fmla="*/ 0 h 221"/>
                <a:gd name="T6" fmla="*/ 358 w 358"/>
                <a:gd name="T7" fmla="*/ 0 h 221"/>
                <a:gd name="T8" fmla="*/ 249 w 358"/>
                <a:gd name="T9" fmla="*/ 221 h 221"/>
              </a:gdLst>
              <a:ahLst/>
              <a:cxnLst>
                <a:cxn ang="0">
                  <a:pos x="T0" y="T1"/>
                </a:cxn>
                <a:cxn ang="0">
                  <a:pos x="T2" y="T3"/>
                </a:cxn>
                <a:cxn ang="0">
                  <a:pos x="T4" y="T5"/>
                </a:cxn>
                <a:cxn ang="0">
                  <a:pos x="T6" y="T7"/>
                </a:cxn>
                <a:cxn ang="0">
                  <a:pos x="T8" y="T9"/>
                </a:cxn>
              </a:cxnLst>
              <a:rect l="0" t="0" r="r" b="b"/>
              <a:pathLst>
                <a:path w="358" h="221">
                  <a:moveTo>
                    <a:pt x="249" y="221"/>
                  </a:moveTo>
                  <a:lnTo>
                    <a:pt x="0" y="221"/>
                  </a:lnTo>
                  <a:lnTo>
                    <a:pt x="178" y="0"/>
                  </a:lnTo>
                  <a:lnTo>
                    <a:pt x="358" y="0"/>
                  </a:lnTo>
                  <a:lnTo>
                    <a:pt x="249" y="221"/>
                  </a:lnTo>
                  <a:close/>
                </a:path>
              </a:pathLst>
            </a:custGeom>
            <a:gradFill>
              <a:gsLst>
                <a:gs pos="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43">
              <a:extLst>
                <a:ext uri="{FF2B5EF4-FFF2-40B4-BE49-F238E27FC236}">
                  <a16:creationId xmlns:a16="http://schemas.microsoft.com/office/drawing/2014/main" id="{14547BA8-7605-4311-8284-7AEA0FF2AF10}"/>
                </a:ext>
              </a:extLst>
            </p:cNvPr>
            <p:cNvSpPr>
              <a:spLocks/>
            </p:cNvSpPr>
            <p:nvPr userDrawn="1"/>
          </p:nvSpPr>
          <p:spPr bwMode="auto">
            <a:xfrm flipH="1">
              <a:off x="9861550" y="5521392"/>
              <a:ext cx="362847" cy="114902"/>
            </a:xfrm>
            <a:custGeom>
              <a:avLst/>
              <a:gdLst>
                <a:gd name="T0" fmla="*/ 133 w 180"/>
                <a:gd name="T1" fmla="*/ 0 h 57"/>
                <a:gd name="T2" fmla="*/ 74 w 180"/>
                <a:gd name="T3" fmla="*/ 0 h 57"/>
                <a:gd name="T4" fmla="*/ 0 w 180"/>
                <a:gd name="T5" fmla="*/ 57 h 57"/>
                <a:gd name="T6" fmla="*/ 180 w 180"/>
                <a:gd name="T7" fmla="*/ 57 h 57"/>
                <a:gd name="T8" fmla="*/ 133 w 180"/>
                <a:gd name="T9" fmla="*/ 0 h 57"/>
              </a:gdLst>
              <a:ahLst/>
              <a:cxnLst>
                <a:cxn ang="0">
                  <a:pos x="T0" y="T1"/>
                </a:cxn>
                <a:cxn ang="0">
                  <a:pos x="T2" y="T3"/>
                </a:cxn>
                <a:cxn ang="0">
                  <a:pos x="T4" y="T5"/>
                </a:cxn>
                <a:cxn ang="0">
                  <a:pos x="T6" y="T7"/>
                </a:cxn>
                <a:cxn ang="0">
                  <a:pos x="T8" y="T9"/>
                </a:cxn>
              </a:cxnLst>
              <a:rect l="0" t="0" r="r" b="b"/>
              <a:pathLst>
                <a:path w="180" h="57">
                  <a:moveTo>
                    <a:pt x="133" y="0"/>
                  </a:moveTo>
                  <a:lnTo>
                    <a:pt x="74" y="0"/>
                  </a:lnTo>
                  <a:lnTo>
                    <a:pt x="0" y="57"/>
                  </a:lnTo>
                  <a:lnTo>
                    <a:pt x="180" y="57"/>
                  </a:lnTo>
                  <a:lnTo>
                    <a:pt x="133" y="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44">
              <a:extLst>
                <a:ext uri="{FF2B5EF4-FFF2-40B4-BE49-F238E27FC236}">
                  <a16:creationId xmlns:a16="http://schemas.microsoft.com/office/drawing/2014/main" id="{E698F4F3-6A9F-46DE-9108-01340F0623AA}"/>
                </a:ext>
              </a:extLst>
            </p:cNvPr>
            <p:cNvSpPr>
              <a:spLocks/>
            </p:cNvSpPr>
            <p:nvPr userDrawn="1"/>
          </p:nvSpPr>
          <p:spPr bwMode="auto">
            <a:xfrm flipH="1">
              <a:off x="9861550" y="5551629"/>
              <a:ext cx="362847" cy="84664"/>
            </a:xfrm>
            <a:custGeom>
              <a:avLst/>
              <a:gdLst>
                <a:gd name="T0" fmla="*/ 133 w 180"/>
                <a:gd name="T1" fmla="*/ 0 h 42"/>
                <a:gd name="T2" fmla="*/ 74 w 180"/>
                <a:gd name="T3" fmla="*/ 0 h 42"/>
                <a:gd name="T4" fmla="*/ 0 w 180"/>
                <a:gd name="T5" fmla="*/ 42 h 42"/>
                <a:gd name="T6" fmla="*/ 180 w 180"/>
                <a:gd name="T7" fmla="*/ 42 h 42"/>
                <a:gd name="T8" fmla="*/ 133 w 180"/>
                <a:gd name="T9" fmla="*/ 0 h 42"/>
              </a:gdLst>
              <a:ahLst/>
              <a:cxnLst>
                <a:cxn ang="0">
                  <a:pos x="T0" y="T1"/>
                </a:cxn>
                <a:cxn ang="0">
                  <a:pos x="T2" y="T3"/>
                </a:cxn>
                <a:cxn ang="0">
                  <a:pos x="T4" y="T5"/>
                </a:cxn>
                <a:cxn ang="0">
                  <a:pos x="T6" y="T7"/>
                </a:cxn>
                <a:cxn ang="0">
                  <a:pos x="T8" y="T9"/>
                </a:cxn>
              </a:cxnLst>
              <a:rect l="0" t="0" r="r" b="b"/>
              <a:pathLst>
                <a:path w="180" h="42">
                  <a:moveTo>
                    <a:pt x="133" y="0"/>
                  </a:moveTo>
                  <a:lnTo>
                    <a:pt x="74" y="0"/>
                  </a:lnTo>
                  <a:lnTo>
                    <a:pt x="0" y="42"/>
                  </a:lnTo>
                  <a:lnTo>
                    <a:pt x="180" y="42"/>
                  </a:lnTo>
                  <a:lnTo>
                    <a:pt x="13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45">
              <a:extLst>
                <a:ext uri="{FF2B5EF4-FFF2-40B4-BE49-F238E27FC236}">
                  <a16:creationId xmlns:a16="http://schemas.microsoft.com/office/drawing/2014/main" id="{27C2FCD7-F10D-4E8D-9518-97E86C381592}"/>
                </a:ext>
              </a:extLst>
            </p:cNvPr>
            <p:cNvSpPr>
              <a:spLocks/>
            </p:cNvSpPr>
            <p:nvPr userDrawn="1"/>
          </p:nvSpPr>
          <p:spPr bwMode="auto">
            <a:xfrm flipH="1">
              <a:off x="9861550" y="5636293"/>
              <a:ext cx="721663" cy="445497"/>
            </a:xfrm>
            <a:custGeom>
              <a:avLst/>
              <a:gdLst>
                <a:gd name="T0" fmla="*/ 249 w 358"/>
                <a:gd name="T1" fmla="*/ 221 h 221"/>
                <a:gd name="T2" fmla="*/ 0 w 358"/>
                <a:gd name="T3" fmla="*/ 221 h 221"/>
                <a:gd name="T4" fmla="*/ 178 w 358"/>
                <a:gd name="T5" fmla="*/ 0 h 221"/>
                <a:gd name="T6" fmla="*/ 358 w 358"/>
                <a:gd name="T7" fmla="*/ 0 h 221"/>
                <a:gd name="T8" fmla="*/ 249 w 358"/>
                <a:gd name="T9" fmla="*/ 221 h 221"/>
              </a:gdLst>
              <a:ahLst/>
              <a:cxnLst>
                <a:cxn ang="0">
                  <a:pos x="T0" y="T1"/>
                </a:cxn>
                <a:cxn ang="0">
                  <a:pos x="T2" y="T3"/>
                </a:cxn>
                <a:cxn ang="0">
                  <a:pos x="T4" y="T5"/>
                </a:cxn>
                <a:cxn ang="0">
                  <a:pos x="T6" y="T7"/>
                </a:cxn>
                <a:cxn ang="0">
                  <a:pos x="T8" y="T9"/>
                </a:cxn>
              </a:cxnLst>
              <a:rect l="0" t="0" r="r" b="b"/>
              <a:pathLst>
                <a:path w="358" h="221">
                  <a:moveTo>
                    <a:pt x="249" y="221"/>
                  </a:moveTo>
                  <a:lnTo>
                    <a:pt x="0" y="221"/>
                  </a:lnTo>
                  <a:lnTo>
                    <a:pt x="178" y="0"/>
                  </a:lnTo>
                  <a:lnTo>
                    <a:pt x="358" y="0"/>
                  </a:lnTo>
                  <a:lnTo>
                    <a:pt x="249" y="221"/>
                  </a:lnTo>
                  <a:close/>
                </a:path>
              </a:pathLst>
            </a:custGeom>
            <a:gradFill>
              <a:gsLst>
                <a:gs pos="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7" name="Freeform 36">
              <a:extLst>
                <a:ext uri="{FF2B5EF4-FFF2-40B4-BE49-F238E27FC236}">
                  <a16:creationId xmlns:a16="http://schemas.microsoft.com/office/drawing/2014/main" id="{F7C88BB9-FDBC-4217-BE57-2D1DA195D1B1}"/>
                </a:ext>
              </a:extLst>
            </p:cNvPr>
            <p:cNvSpPr>
              <a:spLocks/>
            </p:cNvSpPr>
            <p:nvPr userDrawn="1"/>
          </p:nvSpPr>
          <p:spPr bwMode="auto">
            <a:xfrm>
              <a:off x="3477645" y="3858782"/>
              <a:ext cx="4497835" cy="188321"/>
            </a:xfrm>
            <a:custGeom>
              <a:avLst/>
              <a:gdLst>
                <a:gd name="T0" fmla="*/ 522 w 1027"/>
                <a:gd name="T1" fmla="*/ 0 h 43"/>
                <a:gd name="T2" fmla="*/ 0 w 1027"/>
                <a:gd name="T3" fmla="*/ 43 h 43"/>
                <a:gd name="T4" fmla="*/ 455 w 1027"/>
                <a:gd name="T5" fmla="*/ 43 h 43"/>
                <a:gd name="T6" fmla="*/ 493 w 1027"/>
                <a:gd name="T7" fmla="*/ 29 h 43"/>
                <a:gd name="T8" fmla="*/ 1027 w 1027"/>
                <a:gd name="T9" fmla="*/ 43 h 43"/>
                <a:gd name="T10" fmla="*/ 522 w 1027"/>
                <a:gd name="T11" fmla="*/ 0 h 43"/>
              </a:gdLst>
              <a:ahLst/>
              <a:cxnLst>
                <a:cxn ang="0">
                  <a:pos x="T0" y="T1"/>
                </a:cxn>
                <a:cxn ang="0">
                  <a:pos x="T2" y="T3"/>
                </a:cxn>
                <a:cxn ang="0">
                  <a:pos x="T4" y="T5"/>
                </a:cxn>
                <a:cxn ang="0">
                  <a:pos x="T6" y="T7"/>
                </a:cxn>
                <a:cxn ang="0">
                  <a:pos x="T8" y="T9"/>
                </a:cxn>
                <a:cxn ang="0">
                  <a:pos x="T10" y="T11"/>
                </a:cxn>
              </a:cxnLst>
              <a:rect l="0" t="0" r="r" b="b"/>
              <a:pathLst>
                <a:path w="1027" h="43">
                  <a:moveTo>
                    <a:pt x="522" y="0"/>
                  </a:moveTo>
                  <a:lnTo>
                    <a:pt x="0" y="43"/>
                  </a:lnTo>
                  <a:lnTo>
                    <a:pt x="455" y="43"/>
                  </a:lnTo>
                  <a:lnTo>
                    <a:pt x="493" y="29"/>
                  </a:lnTo>
                  <a:lnTo>
                    <a:pt x="1027" y="43"/>
                  </a:lnTo>
                  <a:lnTo>
                    <a:pt x="522" y="0"/>
                  </a:lnTo>
                  <a:close/>
                </a:path>
              </a:pathLst>
            </a:custGeom>
            <a:solidFill>
              <a:schemeClr val="accent4">
                <a:alpha val="7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7" name="Freeform 84">
              <a:extLst>
                <a:ext uri="{FF2B5EF4-FFF2-40B4-BE49-F238E27FC236}">
                  <a16:creationId xmlns:a16="http://schemas.microsoft.com/office/drawing/2014/main" id="{5E2D7752-A72D-47BB-8017-63D052065267}"/>
                </a:ext>
              </a:extLst>
            </p:cNvPr>
            <p:cNvSpPr>
              <a:spLocks/>
            </p:cNvSpPr>
            <p:nvPr userDrawn="1"/>
          </p:nvSpPr>
          <p:spPr bwMode="auto">
            <a:xfrm>
              <a:off x="4393480" y="5261367"/>
              <a:ext cx="3495806" cy="1310936"/>
            </a:xfrm>
            <a:custGeom>
              <a:avLst/>
              <a:gdLst>
                <a:gd name="T0" fmla="*/ 1018 w 1375"/>
                <a:gd name="T1" fmla="*/ 0 h 386"/>
                <a:gd name="T2" fmla="*/ 357 w 1375"/>
                <a:gd name="T3" fmla="*/ 0 h 386"/>
                <a:gd name="T4" fmla="*/ 0 w 1375"/>
                <a:gd name="T5" fmla="*/ 386 h 386"/>
                <a:gd name="T6" fmla="*/ 1375 w 1375"/>
                <a:gd name="T7" fmla="*/ 386 h 386"/>
                <a:gd name="T8" fmla="*/ 1018 w 1375"/>
                <a:gd name="T9" fmla="*/ 0 h 386"/>
              </a:gdLst>
              <a:ahLst/>
              <a:cxnLst>
                <a:cxn ang="0">
                  <a:pos x="T0" y="T1"/>
                </a:cxn>
                <a:cxn ang="0">
                  <a:pos x="T2" y="T3"/>
                </a:cxn>
                <a:cxn ang="0">
                  <a:pos x="T4" y="T5"/>
                </a:cxn>
                <a:cxn ang="0">
                  <a:pos x="T6" y="T7"/>
                </a:cxn>
                <a:cxn ang="0">
                  <a:pos x="T8" y="T9"/>
                </a:cxn>
              </a:cxnLst>
              <a:rect l="0" t="0" r="r" b="b"/>
              <a:pathLst>
                <a:path w="1375" h="386">
                  <a:moveTo>
                    <a:pt x="1018" y="0"/>
                  </a:moveTo>
                  <a:lnTo>
                    <a:pt x="357" y="0"/>
                  </a:lnTo>
                  <a:lnTo>
                    <a:pt x="0" y="386"/>
                  </a:lnTo>
                  <a:lnTo>
                    <a:pt x="1375" y="386"/>
                  </a:lnTo>
                  <a:lnTo>
                    <a:pt x="1018" y="0"/>
                  </a:lnTo>
                  <a:close/>
                </a:path>
              </a:pathLst>
            </a:custGeom>
            <a:gradFill>
              <a:gsLst>
                <a:gs pos="100000">
                  <a:schemeClr val="accent2">
                    <a:alpha val="9000"/>
                  </a:schemeClr>
                </a:gs>
                <a:gs pos="0">
                  <a:schemeClr val="accent1">
                    <a:lumMod val="50000"/>
                    <a:alpha val="3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08" name="Freeform 85">
              <a:extLst>
                <a:ext uri="{FF2B5EF4-FFF2-40B4-BE49-F238E27FC236}">
                  <a16:creationId xmlns:a16="http://schemas.microsoft.com/office/drawing/2014/main" id="{520A5F38-E1FF-491A-93C8-790F3DA9EC37}"/>
                </a:ext>
              </a:extLst>
            </p:cNvPr>
            <p:cNvSpPr>
              <a:spLocks/>
            </p:cNvSpPr>
            <p:nvPr userDrawn="1"/>
          </p:nvSpPr>
          <p:spPr bwMode="auto">
            <a:xfrm>
              <a:off x="6004195" y="5380866"/>
              <a:ext cx="233725" cy="695609"/>
            </a:xfrm>
            <a:custGeom>
              <a:avLst/>
              <a:gdLst>
                <a:gd name="T0" fmla="*/ 0 w 84"/>
                <a:gd name="T1" fmla="*/ 0 h 250"/>
                <a:gd name="T2" fmla="*/ 39 w 84"/>
                <a:gd name="T3" fmla="*/ 250 h 250"/>
                <a:gd name="T4" fmla="*/ 84 w 84"/>
                <a:gd name="T5" fmla="*/ 0 h 250"/>
                <a:gd name="T6" fmla="*/ 0 w 84"/>
                <a:gd name="T7" fmla="*/ 0 h 250"/>
              </a:gdLst>
              <a:ahLst/>
              <a:cxnLst>
                <a:cxn ang="0">
                  <a:pos x="T0" y="T1"/>
                </a:cxn>
                <a:cxn ang="0">
                  <a:pos x="T2" y="T3"/>
                </a:cxn>
                <a:cxn ang="0">
                  <a:pos x="T4" y="T5"/>
                </a:cxn>
                <a:cxn ang="0">
                  <a:pos x="T6" y="T7"/>
                </a:cxn>
              </a:cxnLst>
              <a:rect l="0" t="0" r="r" b="b"/>
              <a:pathLst>
                <a:path w="84" h="250">
                  <a:moveTo>
                    <a:pt x="0" y="0"/>
                  </a:moveTo>
                  <a:lnTo>
                    <a:pt x="39" y="250"/>
                  </a:lnTo>
                  <a:lnTo>
                    <a:pt x="84" y="0"/>
                  </a:lnTo>
                  <a:lnTo>
                    <a:pt x="0" y="0"/>
                  </a:lnTo>
                  <a:close/>
                </a:path>
              </a:pathLst>
            </a:custGeom>
            <a:gradFill>
              <a:gsLst>
                <a:gs pos="79000">
                  <a:schemeClr val="accent1">
                    <a:alpha val="8000"/>
                  </a:schemeClr>
                </a:gs>
                <a:gs pos="0">
                  <a:schemeClr val="accent4">
                    <a:alpha val="10000"/>
                  </a:schemeClr>
                </a:gs>
              </a:gsLst>
              <a:lin ang="12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8" name="Oval 106">
              <a:extLst>
                <a:ext uri="{FF2B5EF4-FFF2-40B4-BE49-F238E27FC236}">
                  <a16:creationId xmlns:a16="http://schemas.microsoft.com/office/drawing/2014/main" id="{D0430633-E5F9-4118-9383-42992307CFFE}"/>
                </a:ext>
              </a:extLst>
            </p:cNvPr>
            <p:cNvSpPr>
              <a:spLocks noChangeArrowheads="1"/>
            </p:cNvSpPr>
            <p:nvPr userDrawn="1"/>
          </p:nvSpPr>
          <p:spPr bwMode="auto">
            <a:xfrm>
              <a:off x="4828389" y="5285726"/>
              <a:ext cx="2702774" cy="259083"/>
            </a:xfrm>
            <a:prstGeom prst="ellipse">
              <a:avLst/>
            </a:prstGeom>
            <a:solidFill>
              <a:schemeClr val="accent3">
                <a:alpha val="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71" name="Oval 106">
              <a:extLst>
                <a:ext uri="{FF2B5EF4-FFF2-40B4-BE49-F238E27FC236}">
                  <a16:creationId xmlns:a16="http://schemas.microsoft.com/office/drawing/2014/main" id="{60CE8575-2D2C-419A-B97F-9A3F4A715378}"/>
                </a:ext>
              </a:extLst>
            </p:cNvPr>
            <p:cNvSpPr>
              <a:spLocks noChangeArrowheads="1"/>
            </p:cNvSpPr>
            <p:nvPr userDrawn="1"/>
          </p:nvSpPr>
          <p:spPr bwMode="auto">
            <a:xfrm>
              <a:off x="5015061" y="5279590"/>
              <a:ext cx="2329431" cy="240777"/>
            </a:xfrm>
            <a:prstGeom prst="ellipse">
              <a:avLst/>
            </a:prstGeom>
            <a:solidFill>
              <a:schemeClr val="accent3">
                <a:alpha val="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4112" name="Freeform 89">
              <a:extLst>
                <a:ext uri="{FF2B5EF4-FFF2-40B4-BE49-F238E27FC236}">
                  <a16:creationId xmlns:a16="http://schemas.microsoft.com/office/drawing/2014/main" id="{BD4DF393-91FF-4654-9E94-69A7C41E7065}"/>
                </a:ext>
              </a:extLst>
            </p:cNvPr>
            <p:cNvSpPr>
              <a:spLocks/>
            </p:cNvSpPr>
            <p:nvPr userDrawn="1"/>
          </p:nvSpPr>
          <p:spPr bwMode="auto">
            <a:xfrm>
              <a:off x="5718614" y="4471590"/>
              <a:ext cx="157405" cy="197949"/>
            </a:xfrm>
            <a:custGeom>
              <a:avLst/>
              <a:gdLst>
                <a:gd name="T0" fmla="*/ 0 w 66"/>
                <a:gd name="T1" fmla="*/ 0 h 83"/>
                <a:gd name="T2" fmla="*/ 33 w 66"/>
                <a:gd name="T3" fmla="*/ 83 h 83"/>
                <a:gd name="T4" fmla="*/ 66 w 66"/>
                <a:gd name="T5" fmla="*/ 0 h 83"/>
                <a:gd name="T6" fmla="*/ 0 w 66"/>
                <a:gd name="T7" fmla="*/ 0 h 83"/>
              </a:gdLst>
              <a:ahLst/>
              <a:cxnLst>
                <a:cxn ang="0">
                  <a:pos x="T0" y="T1"/>
                </a:cxn>
                <a:cxn ang="0">
                  <a:pos x="T2" y="T3"/>
                </a:cxn>
                <a:cxn ang="0">
                  <a:pos x="T4" y="T5"/>
                </a:cxn>
                <a:cxn ang="0">
                  <a:pos x="T6" y="T7"/>
                </a:cxn>
              </a:cxnLst>
              <a:rect l="0" t="0" r="r" b="b"/>
              <a:pathLst>
                <a:path w="66" h="83">
                  <a:moveTo>
                    <a:pt x="0" y="0"/>
                  </a:moveTo>
                  <a:lnTo>
                    <a:pt x="33" y="83"/>
                  </a:lnTo>
                  <a:lnTo>
                    <a:pt x="66" y="0"/>
                  </a:lnTo>
                  <a:lnTo>
                    <a:pt x="0" y="0"/>
                  </a:lnTo>
                  <a:close/>
                </a:path>
              </a:pathLst>
            </a:custGeom>
            <a:gradFill>
              <a:gsLst>
                <a:gs pos="100000">
                  <a:schemeClr val="accent1"/>
                </a:gs>
                <a:gs pos="0">
                  <a:schemeClr val="accent4"/>
                </a:gs>
                <a:gs pos="42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3" name="Freeform 90">
              <a:extLst>
                <a:ext uri="{FF2B5EF4-FFF2-40B4-BE49-F238E27FC236}">
                  <a16:creationId xmlns:a16="http://schemas.microsoft.com/office/drawing/2014/main" id="{BF14C8D7-D9A3-425D-BEA1-72F0336DC6B2}"/>
                </a:ext>
              </a:extLst>
            </p:cNvPr>
            <p:cNvSpPr>
              <a:spLocks/>
            </p:cNvSpPr>
            <p:nvPr userDrawn="1"/>
          </p:nvSpPr>
          <p:spPr bwMode="auto">
            <a:xfrm>
              <a:off x="5756773" y="4471590"/>
              <a:ext cx="159791" cy="197949"/>
            </a:xfrm>
            <a:custGeom>
              <a:avLst/>
              <a:gdLst>
                <a:gd name="T0" fmla="*/ 0 w 67"/>
                <a:gd name="T1" fmla="*/ 0 h 83"/>
                <a:gd name="T2" fmla="*/ 34 w 67"/>
                <a:gd name="T3" fmla="*/ 83 h 83"/>
                <a:gd name="T4" fmla="*/ 67 w 67"/>
                <a:gd name="T5" fmla="*/ 0 h 83"/>
                <a:gd name="T6" fmla="*/ 0 w 67"/>
                <a:gd name="T7" fmla="*/ 0 h 83"/>
              </a:gdLst>
              <a:ahLst/>
              <a:cxnLst>
                <a:cxn ang="0">
                  <a:pos x="T0" y="T1"/>
                </a:cxn>
                <a:cxn ang="0">
                  <a:pos x="T2" y="T3"/>
                </a:cxn>
                <a:cxn ang="0">
                  <a:pos x="T4" y="T5"/>
                </a:cxn>
                <a:cxn ang="0">
                  <a:pos x="T6" y="T7"/>
                </a:cxn>
              </a:cxnLst>
              <a:rect l="0" t="0" r="r" b="b"/>
              <a:pathLst>
                <a:path w="67" h="83">
                  <a:moveTo>
                    <a:pt x="0" y="0"/>
                  </a:moveTo>
                  <a:lnTo>
                    <a:pt x="34" y="83"/>
                  </a:lnTo>
                  <a:lnTo>
                    <a:pt x="67" y="0"/>
                  </a:lnTo>
                  <a:lnTo>
                    <a:pt x="0" y="0"/>
                  </a:lnTo>
                  <a:close/>
                </a:path>
              </a:pathLst>
            </a:custGeom>
            <a:solidFill>
              <a:srgbClr val="1D1438">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4" name="Freeform 91">
              <a:extLst>
                <a:ext uri="{FF2B5EF4-FFF2-40B4-BE49-F238E27FC236}">
                  <a16:creationId xmlns:a16="http://schemas.microsoft.com/office/drawing/2014/main" id="{7EA2EDBB-C674-469B-8D1B-BE1638224E85}"/>
                </a:ext>
              </a:extLst>
            </p:cNvPr>
            <p:cNvSpPr>
              <a:spLocks/>
            </p:cNvSpPr>
            <p:nvPr userDrawn="1"/>
          </p:nvSpPr>
          <p:spPr bwMode="auto">
            <a:xfrm>
              <a:off x="5718614" y="4471590"/>
              <a:ext cx="276652" cy="40543"/>
            </a:xfrm>
            <a:custGeom>
              <a:avLst/>
              <a:gdLst>
                <a:gd name="T0" fmla="*/ 0 w 116"/>
                <a:gd name="T1" fmla="*/ 0 h 17"/>
                <a:gd name="T2" fmla="*/ 116 w 116"/>
                <a:gd name="T3" fmla="*/ 17 h 17"/>
                <a:gd name="T4" fmla="*/ 66 w 116"/>
                <a:gd name="T5" fmla="*/ 0 h 17"/>
                <a:gd name="T6" fmla="*/ 0 w 116"/>
                <a:gd name="T7" fmla="*/ 0 h 17"/>
              </a:gdLst>
              <a:ahLst/>
              <a:cxnLst>
                <a:cxn ang="0">
                  <a:pos x="T0" y="T1"/>
                </a:cxn>
                <a:cxn ang="0">
                  <a:pos x="T2" y="T3"/>
                </a:cxn>
                <a:cxn ang="0">
                  <a:pos x="T4" y="T5"/>
                </a:cxn>
                <a:cxn ang="0">
                  <a:pos x="T6" y="T7"/>
                </a:cxn>
              </a:cxnLst>
              <a:rect l="0" t="0" r="r" b="b"/>
              <a:pathLst>
                <a:path w="116" h="17">
                  <a:moveTo>
                    <a:pt x="0" y="0"/>
                  </a:moveTo>
                  <a:lnTo>
                    <a:pt x="116" y="17"/>
                  </a:lnTo>
                  <a:lnTo>
                    <a:pt x="66" y="0"/>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5" name="Freeform 92">
              <a:extLst>
                <a:ext uri="{FF2B5EF4-FFF2-40B4-BE49-F238E27FC236}">
                  <a16:creationId xmlns:a16="http://schemas.microsoft.com/office/drawing/2014/main" id="{B8183CDE-F201-456E-AE32-20BDDA93285E}"/>
                </a:ext>
              </a:extLst>
            </p:cNvPr>
            <p:cNvSpPr>
              <a:spLocks/>
            </p:cNvSpPr>
            <p:nvPr userDrawn="1"/>
          </p:nvSpPr>
          <p:spPr bwMode="auto">
            <a:xfrm>
              <a:off x="6438864" y="4471590"/>
              <a:ext cx="157405" cy="197949"/>
            </a:xfrm>
            <a:custGeom>
              <a:avLst/>
              <a:gdLst>
                <a:gd name="T0" fmla="*/ 66 w 66"/>
                <a:gd name="T1" fmla="*/ 0 h 83"/>
                <a:gd name="T2" fmla="*/ 33 w 66"/>
                <a:gd name="T3" fmla="*/ 83 h 83"/>
                <a:gd name="T4" fmla="*/ 0 w 66"/>
                <a:gd name="T5" fmla="*/ 0 h 83"/>
                <a:gd name="T6" fmla="*/ 66 w 66"/>
                <a:gd name="T7" fmla="*/ 0 h 83"/>
              </a:gdLst>
              <a:ahLst/>
              <a:cxnLst>
                <a:cxn ang="0">
                  <a:pos x="T0" y="T1"/>
                </a:cxn>
                <a:cxn ang="0">
                  <a:pos x="T2" y="T3"/>
                </a:cxn>
                <a:cxn ang="0">
                  <a:pos x="T4" y="T5"/>
                </a:cxn>
                <a:cxn ang="0">
                  <a:pos x="T6" y="T7"/>
                </a:cxn>
              </a:cxnLst>
              <a:rect l="0" t="0" r="r" b="b"/>
              <a:pathLst>
                <a:path w="66" h="83">
                  <a:moveTo>
                    <a:pt x="66" y="0"/>
                  </a:moveTo>
                  <a:lnTo>
                    <a:pt x="33" y="83"/>
                  </a:lnTo>
                  <a:lnTo>
                    <a:pt x="0" y="0"/>
                  </a:lnTo>
                  <a:lnTo>
                    <a:pt x="66" y="0"/>
                  </a:lnTo>
                  <a:close/>
                </a:path>
              </a:pathLst>
            </a:custGeom>
            <a:gradFill>
              <a:gsLst>
                <a:gs pos="100000">
                  <a:schemeClr val="accent1"/>
                </a:gs>
                <a:gs pos="0">
                  <a:schemeClr val="accent4"/>
                </a:gs>
                <a:gs pos="42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6" name="Freeform 93">
              <a:extLst>
                <a:ext uri="{FF2B5EF4-FFF2-40B4-BE49-F238E27FC236}">
                  <a16:creationId xmlns:a16="http://schemas.microsoft.com/office/drawing/2014/main" id="{3373CEA9-0479-4025-988E-8B0842A16BB3}"/>
                </a:ext>
              </a:extLst>
            </p:cNvPr>
            <p:cNvSpPr>
              <a:spLocks/>
            </p:cNvSpPr>
            <p:nvPr userDrawn="1"/>
          </p:nvSpPr>
          <p:spPr bwMode="auto">
            <a:xfrm>
              <a:off x="6398319" y="4471590"/>
              <a:ext cx="159791" cy="197949"/>
            </a:xfrm>
            <a:custGeom>
              <a:avLst/>
              <a:gdLst>
                <a:gd name="T0" fmla="*/ 67 w 67"/>
                <a:gd name="T1" fmla="*/ 0 h 83"/>
                <a:gd name="T2" fmla="*/ 33 w 67"/>
                <a:gd name="T3" fmla="*/ 83 h 83"/>
                <a:gd name="T4" fmla="*/ 0 w 67"/>
                <a:gd name="T5" fmla="*/ 0 h 83"/>
                <a:gd name="T6" fmla="*/ 67 w 67"/>
                <a:gd name="T7" fmla="*/ 0 h 83"/>
              </a:gdLst>
              <a:ahLst/>
              <a:cxnLst>
                <a:cxn ang="0">
                  <a:pos x="T0" y="T1"/>
                </a:cxn>
                <a:cxn ang="0">
                  <a:pos x="T2" y="T3"/>
                </a:cxn>
                <a:cxn ang="0">
                  <a:pos x="T4" y="T5"/>
                </a:cxn>
                <a:cxn ang="0">
                  <a:pos x="T6" y="T7"/>
                </a:cxn>
              </a:cxnLst>
              <a:rect l="0" t="0" r="r" b="b"/>
              <a:pathLst>
                <a:path w="67" h="83">
                  <a:moveTo>
                    <a:pt x="67" y="0"/>
                  </a:moveTo>
                  <a:lnTo>
                    <a:pt x="33" y="83"/>
                  </a:lnTo>
                  <a:lnTo>
                    <a:pt x="0" y="0"/>
                  </a:lnTo>
                  <a:lnTo>
                    <a:pt x="67" y="0"/>
                  </a:lnTo>
                  <a:close/>
                </a:path>
              </a:pathLst>
            </a:custGeom>
            <a:solidFill>
              <a:srgbClr val="000000">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7" name="Freeform 94">
              <a:extLst>
                <a:ext uri="{FF2B5EF4-FFF2-40B4-BE49-F238E27FC236}">
                  <a16:creationId xmlns:a16="http://schemas.microsoft.com/office/drawing/2014/main" id="{5D05A0A6-3988-41F6-88EC-A8D7FC9C2045}"/>
                </a:ext>
              </a:extLst>
            </p:cNvPr>
            <p:cNvSpPr>
              <a:spLocks/>
            </p:cNvSpPr>
            <p:nvPr userDrawn="1"/>
          </p:nvSpPr>
          <p:spPr bwMode="auto">
            <a:xfrm>
              <a:off x="5208239" y="4047073"/>
              <a:ext cx="1843553" cy="1352255"/>
            </a:xfrm>
            <a:custGeom>
              <a:avLst/>
              <a:gdLst>
                <a:gd name="T0" fmla="*/ 386 w 773"/>
                <a:gd name="T1" fmla="*/ 0 h 567"/>
                <a:gd name="T2" fmla="*/ 0 w 773"/>
                <a:gd name="T3" fmla="*/ 567 h 567"/>
                <a:gd name="T4" fmla="*/ 773 w 773"/>
                <a:gd name="T5" fmla="*/ 567 h 567"/>
                <a:gd name="T6" fmla="*/ 386 w 773"/>
                <a:gd name="T7" fmla="*/ 0 h 567"/>
              </a:gdLst>
              <a:ahLst/>
              <a:cxnLst>
                <a:cxn ang="0">
                  <a:pos x="T0" y="T1"/>
                </a:cxn>
                <a:cxn ang="0">
                  <a:pos x="T2" y="T3"/>
                </a:cxn>
                <a:cxn ang="0">
                  <a:pos x="T4" y="T5"/>
                </a:cxn>
                <a:cxn ang="0">
                  <a:pos x="T6" y="T7"/>
                </a:cxn>
              </a:cxnLst>
              <a:rect l="0" t="0" r="r" b="b"/>
              <a:pathLst>
                <a:path w="773" h="567">
                  <a:moveTo>
                    <a:pt x="386" y="0"/>
                  </a:moveTo>
                  <a:lnTo>
                    <a:pt x="0" y="567"/>
                  </a:lnTo>
                  <a:lnTo>
                    <a:pt x="773" y="567"/>
                  </a:lnTo>
                  <a:lnTo>
                    <a:pt x="386" y="0"/>
                  </a:lnTo>
                  <a:close/>
                </a:path>
              </a:pathLst>
            </a:custGeom>
            <a:gradFill flip="none" rotWithShape="1">
              <a:gsLst>
                <a:gs pos="0">
                  <a:schemeClr val="accent4"/>
                </a:gs>
                <a:gs pos="35000">
                  <a:schemeClr val="accent3"/>
                </a:gs>
                <a:gs pos="100000">
                  <a:schemeClr val="accent1">
                    <a:lumMod val="100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8" name="Freeform 95">
              <a:extLst>
                <a:ext uri="{FF2B5EF4-FFF2-40B4-BE49-F238E27FC236}">
                  <a16:creationId xmlns:a16="http://schemas.microsoft.com/office/drawing/2014/main" id="{A86CAD88-A68E-4EA7-957A-1B6C42164D56}"/>
                </a:ext>
              </a:extLst>
            </p:cNvPr>
            <p:cNvSpPr>
              <a:spLocks/>
            </p:cNvSpPr>
            <p:nvPr userDrawn="1"/>
          </p:nvSpPr>
          <p:spPr bwMode="auto">
            <a:xfrm>
              <a:off x="5208239" y="4047073"/>
              <a:ext cx="920584" cy="1352255"/>
            </a:xfrm>
            <a:custGeom>
              <a:avLst/>
              <a:gdLst>
                <a:gd name="T0" fmla="*/ 386 w 386"/>
                <a:gd name="T1" fmla="*/ 0 h 567"/>
                <a:gd name="T2" fmla="*/ 0 w 386"/>
                <a:gd name="T3" fmla="*/ 567 h 567"/>
                <a:gd name="T4" fmla="*/ 336 w 386"/>
                <a:gd name="T5" fmla="*/ 567 h 567"/>
                <a:gd name="T6" fmla="*/ 386 w 386"/>
                <a:gd name="T7" fmla="*/ 245 h 567"/>
                <a:gd name="T8" fmla="*/ 386 w 386"/>
                <a:gd name="T9" fmla="*/ 0 h 567"/>
              </a:gdLst>
              <a:ahLst/>
              <a:cxnLst>
                <a:cxn ang="0">
                  <a:pos x="T0" y="T1"/>
                </a:cxn>
                <a:cxn ang="0">
                  <a:pos x="T2" y="T3"/>
                </a:cxn>
                <a:cxn ang="0">
                  <a:pos x="T4" y="T5"/>
                </a:cxn>
                <a:cxn ang="0">
                  <a:pos x="T6" y="T7"/>
                </a:cxn>
                <a:cxn ang="0">
                  <a:pos x="T8" y="T9"/>
                </a:cxn>
              </a:cxnLst>
              <a:rect l="0" t="0" r="r" b="b"/>
              <a:pathLst>
                <a:path w="386" h="567">
                  <a:moveTo>
                    <a:pt x="386" y="0"/>
                  </a:moveTo>
                  <a:lnTo>
                    <a:pt x="0" y="567"/>
                  </a:lnTo>
                  <a:lnTo>
                    <a:pt x="336" y="567"/>
                  </a:lnTo>
                  <a:lnTo>
                    <a:pt x="386" y="245"/>
                  </a:lnTo>
                  <a:lnTo>
                    <a:pt x="386" y="0"/>
                  </a:lnTo>
                  <a:close/>
                </a:path>
              </a:pathLst>
            </a:custGeom>
            <a:gradFill>
              <a:gsLst>
                <a:gs pos="98000">
                  <a:schemeClr val="accent1"/>
                </a:gs>
                <a:gs pos="40000">
                  <a:schemeClr val="accent3"/>
                </a:gs>
                <a:gs pos="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19" name="Freeform 96">
              <a:extLst>
                <a:ext uri="{FF2B5EF4-FFF2-40B4-BE49-F238E27FC236}">
                  <a16:creationId xmlns:a16="http://schemas.microsoft.com/office/drawing/2014/main" id="{92C1384C-687B-4312-8492-1D5204987207}"/>
                </a:ext>
              </a:extLst>
            </p:cNvPr>
            <p:cNvSpPr>
              <a:spLocks/>
            </p:cNvSpPr>
            <p:nvPr userDrawn="1"/>
          </p:nvSpPr>
          <p:spPr bwMode="auto">
            <a:xfrm>
              <a:off x="6128823" y="4047073"/>
              <a:ext cx="922969" cy="1352255"/>
            </a:xfrm>
            <a:custGeom>
              <a:avLst/>
              <a:gdLst>
                <a:gd name="T0" fmla="*/ 0 w 387"/>
                <a:gd name="T1" fmla="*/ 0 h 567"/>
                <a:gd name="T2" fmla="*/ 387 w 387"/>
                <a:gd name="T3" fmla="*/ 567 h 567"/>
                <a:gd name="T4" fmla="*/ 52 w 387"/>
                <a:gd name="T5" fmla="*/ 567 h 567"/>
                <a:gd name="T6" fmla="*/ 0 w 387"/>
                <a:gd name="T7" fmla="*/ 245 h 567"/>
                <a:gd name="T8" fmla="*/ 0 w 387"/>
                <a:gd name="T9" fmla="*/ 0 h 567"/>
              </a:gdLst>
              <a:ahLst/>
              <a:cxnLst>
                <a:cxn ang="0">
                  <a:pos x="T0" y="T1"/>
                </a:cxn>
                <a:cxn ang="0">
                  <a:pos x="T2" y="T3"/>
                </a:cxn>
                <a:cxn ang="0">
                  <a:pos x="T4" y="T5"/>
                </a:cxn>
                <a:cxn ang="0">
                  <a:pos x="T6" y="T7"/>
                </a:cxn>
                <a:cxn ang="0">
                  <a:pos x="T8" y="T9"/>
                </a:cxn>
              </a:cxnLst>
              <a:rect l="0" t="0" r="r" b="b"/>
              <a:pathLst>
                <a:path w="387" h="567">
                  <a:moveTo>
                    <a:pt x="0" y="0"/>
                  </a:moveTo>
                  <a:lnTo>
                    <a:pt x="387" y="567"/>
                  </a:lnTo>
                  <a:lnTo>
                    <a:pt x="52" y="567"/>
                  </a:lnTo>
                  <a:lnTo>
                    <a:pt x="0" y="245"/>
                  </a:lnTo>
                  <a:lnTo>
                    <a:pt x="0" y="0"/>
                  </a:lnTo>
                  <a:close/>
                </a:path>
              </a:pathLst>
            </a:custGeom>
            <a:gradFill>
              <a:gsLst>
                <a:gs pos="98000">
                  <a:schemeClr val="accent1"/>
                </a:gs>
                <a:gs pos="40000">
                  <a:schemeClr val="accent3"/>
                </a:gs>
                <a:gs pos="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4120" name="Freeform 97">
              <a:extLst>
                <a:ext uri="{FF2B5EF4-FFF2-40B4-BE49-F238E27FC236}">
                  <a16:creationId xmlns:a16="http://schemas.microsoft.com/office/drawing/2014/main" id="{4433961C-AC49-4652-BDD8-BB973CEA438C}"/>
                </a:ext>
              </a:extLst>
            </p:cNvPr>
            <p:cNvSpPr>
              <a:spLocks/>
            </p:cNvSpPr>
            <p:nvPr userDrawn="1"/>
          </p:nvSpPr>
          <p:spPr bwMode="auto">
            <a:xfrm>
              <a:off x="5208239" y="4047073"/>
              <a:ext cx="920584" cy="1352255"/>
            </a:xfrm>
            <a:custGeom>
              <a:avLst/>
              <a:gdLst>
                <a:gd name="T0" fmla="*/ 386 w 386"/>
                <a:gd name="T1" fmla="*/ 0 h 567"/>
                <a:gd name="T2" fmla="*/ 0 w 386"/>
                <a:gd name="T3" fmla="*/ 567 h 567"/>
                <a:gd name="T4" fmla="*/ 253 w 386"/>
                <a:gd name="T5" fmla="*/ 567 h 567"/>
                <a:gd name="T6" fmla="*/ 386 w 386"/>
                <a:gd name="T7" fmla="*/ 0 h 567"/>
              </a:gdLst>
              <a:ahLst/>
              <a:cxnLst>
                <a:cxn ang="0">
                  <a:pos x="T0" y="T1"/>
                </a:cxn>
                <a:cxn ang="0">
                  <a:pos x="T2" y="T3"/>
                </a:cxn>
                <a:cxn ang="0">
                  <a:pos x="T4" y="T5"/>
                </a:cxn>
                <a:cxn ang="0">
                  <a:pos x="T6" y="T7"/>
                </a:cxn>
              </a:cxnLst>
              <a:rect l="0" t="0" r="r" b="b"/>
              <a:pathLst>
                <a:path w="386" h="567">
                  <a:moveTo>
                    <a:pt x="386" y="0"/>
                  </a:moveTo>
                  <a:lnTo>
                    <a:pt x="0" y="567"/>
                  </a:lnTo>
                  <a:lnTo>
                    <a:pt x="253" y="567"/>
                  </a:lnTo>
                  <a:lnTo>
                    <a:pt x="386" y="0"/>
                  </a:lnTo>
                  <a:close/>
                </a:path>
              </a:pathLst>
            </a:custGeom>
            <a:gradFill>
              <a:gsLst>
                <a:gs pos="98000">
                  <a:schemeClr val="accent1"/>
                </a:gs>
                <a:gs pos="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1" name="Freeform 98">
              <a:extLst>
                <a:ext uri="{FF2B5EF4-FFF2-40B4-BE49-F238E27FC236}">
                  <a16:creationId xmlns:a16="http://schemas.microsoft.com/office/drawing/2014/main" id="{30068598-9B40-4E87-B935-3E631B937083}"/>
                </a:ext>
              </a:extLst>
            </p:cNvPr>
            <p:cNvSpPr>
              <a:spLocks/>
            </p:cNvSpPr>
            <p:nvPr userDrawn="1"/>
          </p:nvSpPr>
          <p:spPr bwMode="auto">
            <a:xfrm>
              <a:off x="5208239" y="4047073"/>
              <a:ext cx="920584" cy="1352255"/>
            </a:xfrm>
            <a:custGeom>
              <a:avLst/>
              <a:gdLst>
                <a:gd name="T0" fmla="*/ 386 w 386"/>
                <a:gd name="T1" fmla="*/ 0 h 567"/>
                <a:gd name="T2" fmla="*/ 0 w 386"/>
                <a:gd name="T3" fmla="*/ 567 h 567"/>
                <a:gd name="T4" fmla="*/ 17 w 386"/>
                <a:gd name="T5" fmla="*/ 567 h 567"/>
                <a:gd name="T6" fmla="*/ 386 w 386"/>
                <a:gd name="T7" fmla="*/ 0 h 567"/>
              </a:gdLst>
              <a:ahLst/>
              <a:cxnLst>
                <a:cxn ang="0">
                  <a:pos x="T0" y="T1"/>
                </a:cxn>
                <a:cxn ang="0">
                  <a:pos x="T2" y="T3"/>
                </a:cxn>
                <a:cxn ang="0">
                  <a:pos x="T4" y="T5"/>
                </a:cxn>
                <a:cxn ang="0">
                  <a:pos x="T6" y="T7"/>
                </a:cxn>
              </a:cxnLst>
              <a:rect l="0" t="0" r="r" b="b"/>
              <a:pathLst>
                <a:path w="386" h="567">
                  <a:moveTo>
                    <a:pt x="386" y="0"/>
                  </a:moveTo>
                  <a:lnTo>
                    <a:pt x="0" y="567"/>
                  </a:lnTo>
                  <a:lnTo>
                    <a:pt x="17" y="567"/>
                  </a:lnTo>
                  <a:lnTo>
                    <a:pt x="386" y="0"/>
                  </a:lnTo>
                  <a:close/>
                </a:path>
              </a:pathLst>
            </a:custGeom>
            <a:gradFill>
              <a:gsLst>
                <a:gs pos="92000">
                  <a:schemeClr val="accent1"/>
                </a:gs>
                <a:gs pos="2600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2" name="Freeform 99">
              <a:extLst>
                <a:ext uri="{FF2B5EF4-FFF2-40B4-BE49-F238E27FC236}">
                  <a16:creationId xmlns:a16="http://schemas.microsoft.com/office/drawing/2014/main" id="{5457E82F-493D-4FB4-A7DE-0FBB7D1402C4}"/>
                </a:ext>
              </a:extLst>
            </p:cNvPr>
            <p:cNvSpPr>
              <a:spLocks/>
            </p:cNvSpPr>
            <p:nvPr userDrawn="1"/>
          </p:nvSpPr>
          <p:spPr bwMode="auto">
            <a:xfrm>
              <a:off x="6155056" y="4047073"/>
              <a:ext cx="925354" cy="1352255"/>
            </a:xfrm>
            <a:custGeom>
              <a:avLst/>
              <a:gdLst>
                <a:gd name="T0" fmla="*/ 0 w 388"/>
                <a:gd name="T1" fmla="*/ 0 h 567"/>
                <a:gd name="T2" fmla="*/ 388 w 388"/>
                <a:gd name="T3" fmla="*/ 567 h 567"/>
                <a:gd name="T4" fmla="*/ 135 w 388"/>
                <a:gd name="T5" fmla="*/ 567 h 567"/>
                <a:gd name="T6" fmla="*/ 0 w 388"/>
                <a:gd name="T7" fmla="*/ 0 h 567"/>
              </a:gdLst>
              <a:ahLst/>
              <a:cxnLst>
                <a:cxn ang="0">
                  <a:pos x="T0" y="T1"/>
                </a:cxn>
                <a:cxn ang="0">
                  <a:pos x="T2" y="T3"/>
                </a:cxn>
                <a:cxn ang="0">
                  <a:pos x="T4" y="T5"/>
                </a:cxn>
                <a:cxn ang="0">
                  <a:pos x="T6" y="T7"/>
                </a:cxn>
              </a:cxnLst>
              <a:rect l="0" t="0" r="r" b="b"/>
              <a:pathLst>
                <a:path w="388" h="567">
                  <a:moveTo>
                    <a:pt x="0" y="0"/>
                  </a:moveTo>
                  <a:lnTo>
                    <a:pt x="388" y="567"/>
                  </a:lnTo>
                  <a:lnTo>
                    <a:pt x="135" y="567"/>
                  </a:lnTo>
                  <a:lnTo>
                    <a:pt x="0" y="0"/>
                  </a:lnTo>
                  <a:close/>
                </a:path>
              </a:pathLst>
            </a:custGeom>
            <a:gradFill>
              <a:gsLst>
                <a:gs pos="98000">
                  <a:schemeClr val="accent1"/>
                </a:gs>
                <a:gs pos="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4" name="Freeform 100">
              <a:extLst>
                <a:ext uri="{FF2B5EF4-FFF2-40B4-BE49-F238E27FC236}">
                  <a16:creationId xmlns:a16="http://schemas.microsoft.com/office/drawing/2014/main" id="{66F89039-2269-41FE-8DF7-9681A1AC6FD8}"/>
                </a:ext>
              </a:extLst>
            </p:cNvPr>
            <p:cNvSpPr>
              <a:spLocks/>
            </p:cNvSpPr>
            <p:nvPr userDrawn="1"/>
          </p:nvSpPr>
          <p:spPr bwMode="auto">
            <a:xfrm>
              <a:off x="6152674" y="4043602"/>
              <a:ext cx="925354" cy="1352255"/>
            </a:xfrm>
            <a:custGeom>
              <a:avLst/>
              <a:gdLst>
                <a:gd name="T0" fmla="*/ 0 w 388"/>
                <a:gd name="T1" fmla="*/ 0 h 567"/>
                <a:gd name="T2" fmla="*/ 388 w 388"/>
                <a:gd name="T3" fmla="*/ 567 h 567"/>
                <a:gd name="T4" fmla="*/ 0 w 388"/>
                <a:gd name="T5" fmla="*/ 567 h 567"/>
                <a:gd name="T6" fmla="*/ 0 w 388"/>
                <a:gd name="T7" fmla="*/ 0 h 567"/>
              </a:gdLst>
              <a:ahLst/>
              <a:cxnLst>
                <a:cxn ang="0">
                  <a:pos x="T0" y="T1"/>
                </a:cxn>
                <a:cxn ang="0">
                  <a:pos x="T2" y="T3"/>
                </a:cxn>
                <a:cxn ang="0">
                  <a:pos x="T4" y="T5"/>
                </a:cxn>
                <a:cxn ang="0">
                  <a:pos x="T6" y="T7"/>
                </a:cxn>
              </a:cxnLst>
              <a:rect l="0" t="0" r="r" b="b"/>
              <a:pathLst>
                <a:path w="388" h="567">
                  <a:moveTo>
                    <a:pt x="0" y="0"/>
                  </a:moveTo>
                  <a:lnTo>
                    <a:pt x="388" y="567"/>
                  </a:lnTo>
                  <a:lnTo>
                    <a:pt x="0" y="567"/>
                  </a:lnTo>
                  <a:lnTo>
                    <a:pt x="0" y="0"/>
                  </a:lnTo>
                  <a:close/>
                </a:path>
              </a:pathLst>
            </a:custGeom>
            <a:solidFill>
              <a:srgbClr val="1D1438">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5" name="Rectangle 101">
              <a:extLst>
                <a:ext uri="{FF2B5EF4-FFF2-40B4-BE49-F238E27FC236}">
                  <a16:creationId xmlns:a16="http://schemas.microsoft.com/office/drawing/2014/main" id="{0E8F9818-788B-4741-941A-2B4B7AEBCA58}"/>
                </a:ext>
              </a:extLst>
            </p:cNvPr>
            <p:cNvSpPr>
              <a:spLocks noChangeArrowheads="1"/>
            </p:cNvSpPr>
            <p:nvPr userDrawn="1"/>
          </p:nvSpPr>
          <p:spPr bwMode="auto">
            <a:xfrm>
              <a:off x="5170080" y="5287236"/>
              <a:ext cx="38159" cy="112091"/>
            </a:xfrm>
            <a:prstGeom prst="rect">
              <a:avLst/>
            </a:prstGeom>
            <a:gradFill>
              <a:gsLst>
                <a:gs pos="95000">
                  <a:schemeClr val="accent1"/>
                </a:gs>
                <a:gs pos="20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6" name="Rectangle 102">
              <a:extLst>
                <a:ext uri="{FF2B5EF4-FFF2-40B4-BE49-F238E27FC236}">
                  <a16:creationId xmlns:a16="http://schemas.microsoft.com/office/drawing/2014/main" id="{D108CBFC-A464-4C21-A6EC-5A9C1C9B32CA}"/>
                </a:ext>
              </a:extLst>
            </p:cNvPr>
            <p:cNvSpPr>
              <a:spLocks noChangeArrowheads="1"/>
            </p:cNvSpPr>
            <p:nvPr userDrawn="1"/>
          </p:nvSpPr>
          <p:spPr bwMode="auto">
            <a:xfrm>
              <a:off x="7080410" y="5287236"/>
              <a:ext cx="38159" cy="112091"/>
            </a:xfrm>
            <a:prstGeom prst="rect">
              <a:avLst/>
            </a:prstGeom>
            <a:gradFill>
              <a:gsLst>
                <a:gs pos="95000">
                  <a:schemeClr val="accent1"/>
                </a:gs>
                <a:gs pos="20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p:nvPr>
        </p:nvSpPr>
        <p:spPr>
          <a:xfrm>
            <a:off x="669925" y="2369856"/>
            <a:ext cx="10850563" cy="558799"/>
          </a:xfrm>
        </p:spPr>
        <p:txBody>
          <a:bodyPr anchor="ctr">
            <a:normAutofit/>
          </a:bodyPr>
          <a:lstStyle>
            <a:lvl1pPr marL="0" indent="0" algn="ctr">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174708"/>
            <a:ext cx="10850563" cy="1183590"/>
          </a:xfrm>
        </p:spPr>
        <p:txBody>
          <a:bodyPr anchor="ctr">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69925" y="3379180"/>
            <a:ext cx="10850563" cy="296271"/>
          </a:xfrm>
        </p:spPr>
        <p:txBody>
          <a:bodyPr vert="horz" anchor="ctr">
            <a:noAutofit/>
          </a:bodyPr>
          <a:lstStyle>
            <a:lvl1pPr marL="0" indent="0" algn="ctr">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3683794"/>
            <a:ext cx="10850563" cy="296271"/>
          </a:xfrm>
        </p:spPr>
        <p:txBody>
          <a:bodyPr vert="horz" anchor="ctr">
            <a:noAutofit/>
          </a:bodyPr>
          <a:lstStyle>
            <a:lvl1pPr marL="0" indent="0" algn="ctr">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3FF0944B-0B50-4664-8F6A-2F41CA0EF986}"/>
              </a:ext>
            </a:extLst>
          </p:cNvPr>
          <p:cNvSpPr/>
          <p:nvPr userDrawn="1"/>
        </p:nvSpPr>
        <p:spPr>
          <a:xfrm>
            <a:off x="-1" y="4686301"/>
            <a:ext cx="12192000" cy="2171700"/>
          </a:xfrm>
          <a:prstGeom prst="rect">
            <a:avLst/>
          </a:prstGeom>
          <a:gradFill>
            <a:gsLst>
              <a:gs pos="100000">
                <a:schemeClr val="accent2"/>
              </a:gs>
              <a:gs pos="0">
                <a:schemeClr val="accent3"/>
              </a:gs>
              <a:gs pos="42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AutoShape 29">
            <a:extLst>
              <a:ext uri="{FF2B5EF4-FFF2-40B4-BE49-F238E27FC236}">
                <a16:creationId xmlns:a16="http://schemas.microsoft.com/office/drawing/2014/main" id="{4D43572A-1F90-469F-950A-71A60701AD65}"/>
              </a:ext>
            </a:extLst>
          </p:cNvPr>
          <p:cNvSpPr>
            <a:spLocks noChangeAspect="1" noChangeArrowheads="1" noTextEdit="1"/>
          </p:cNvSpPr>
          <p:nvPr userDrawn="1"/>
        </p:nvSpPr>
        <p:spPr bwMode="auto">
          <a:xfrm>
            <a:off x="2122488" y="841375"/>
            <a:ext cx="3905250" cy="207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6">
            <a:extLst>
              <a:ext uri="{FF2B5EF4-FFF2-40B4-BE49-F238E27FC236}">
                <a16:creationId xmlns:a16="http://schemas.microsoft.com/office/drawing/2014/main" id="{E77A4BD8-C924-4308-87D9-3E4E06CDF823}"/>
              </a:ext>
            </a:extLst>
          </p:cNvPr>
          <p:cNvSpPr>
            <a:spLocks/>
          </p:cNvSpPr>
          <p:nvPr userDrawn="1"/>
        </p:nvSpPr>
        <p:spPr bwMode="auto">
          <a:xfrm>
            <a:off x="0" y="3981450"/>
            <a:ext cx="9175750" cy="706438"/>
          </a:xfrm>
          <a:custGeom>
            <a:avLst/>
            <a:gdLst>
              <a:gd name="T0" fmla="*/ 1379 w 5780"/>
              <a:gd name="T1" fmla="*/ 0 h 445"/>
              <a:gd name="T2" fmla="*/ 0 w 5780"/>
              <a:gd name="T3" fmla="*/ 68 h 445"/>
              <a:gd name="T4" fmla="*/ 0 w 5780"/>
              <a:gd name="T5" fmla="*/ 445 h 445"/>
              <a:gd name="T6" fmla="*/ 5780 w 5780"/>
              <a:gd name="T7" fmla="*/ 445 h 445"/>
              <a:gd name="T8" fmla="*/ 2480 w 5780"/>
              <a:gd name="T9" fmla="*/ 123 h 445"/>
              <a:gd name="T10" fmla="*/ 1379 w 5780"/>
              <a:gd name="T11" fmla="*/ 0 h 445"/>
            </a:gdLst>
            <a:ahLst/>
            <a:cxnLst>
              <a:cxn ang="0">
                <a:pos x="T0" y="T1"/>
              </a:cxn>
              <a:cxn ang="0">
                <a:pos x="T2" y="T3"/>
              </a:cxn>
              <a:cxn ang="0">
                <a:pos x="T4" y="T5"/>
              </a:cxn>
              <a:cxn ang="0">
                <a:pos x="T6" y="T7"/>
              </a:cxn>
              <a:cxn ang="0">
                <a:pos x="T8" y="T9"/>
              </a:cxn>
              <a:cxn ang="0">
                <a:pos x="T10" y="T11"/>
              </a:cxn>
            </a:cxnLst>
            <a:rect l="0" t="0" r="r" b="b"/>
            <a:pathLst>
              <a:path w="5780" h="445">
                <a:moveTo>
                  <a:pt x="1379" y="0"/>
                </a:moveTo>
                <a:lnTo>
                  <a:pt x="0" y="68"/>
                </a:lnTo>
                <a:lnTo>
                  <a:pt x="0" y="445"/>
                </a:lnTo>
                <a:lnTo>
                  <a:pt x="5780" y="445"/>
                </a:lnTo>
                <a:lnTo>
                  <a:pt x="2480" y="123"/>
                </a:lnTo>
                <a:lnTo>
                  <a:pt x="1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Freeform 10">
            <a:extLst>
              <a:ext uri="{FF2B5EF4-FFF2-40B4-BE49-F238E27FC236}">
                <a16:creationId xmlns:a16="http://schemas.microsoft.com/office/drawing/2014/main" id="{628597FB-C1D2-4AD5-B0FC-F79D4588F8F3}"/>
              </a:ext>
            </a:extLst>
          </p:cNvPr>
          <p:cNvSpPr>
            <a:spLocks/>
          </p:cNvSpPr>
          <p:nvPr userDrawn="1"/>
        </p:nvSpPr>
        <p:spPr bwMode="auto">
          <a:xfrm>
            <a:off x="9578975" y="673100"/>
            <a:ext cx="87313" cy="66675"/>
          </a:xfrm>
          <a:custGeom>
            <a:avLst/>
            <a:gdLst>
              <a:gd name="T0" fmla="*/ 7 w 13"/>
              <a:gd name="T1" fmla="*/ 0 h 10"/>
              <a:gd name="T2" fmla="*/ 7 w 13"/>
              <a:gd name="T3" fmla="*/ 10 h 10"/>
              <a:gd name="T4" fmla="*/ 7 w 13"/>
              <a:gd name="T5" fmla="*/ 0 h 10"/>
            </a:gdLst>
            <a:ahLst/>
            <a:cxnLst>
              <a:cxn ang="0">
                <a:pos x="T0" y="T1"/>
              </a:cxn>
              <a:cxn ang="0">
                <a:pos x="T2" y="T3"/>
              </a:cxn>
              <a:cxn ang="0">
                <a:pos x="T4" y="T5"/>
              </a:cxn>
            </a:cxnLst>
            <a:rect l="0" t="0" r="r" b="b"/>
            <a:pathLst>
              <a:path w="13" h="10">
                <a:moveTo>
                  <a:pt x="7" y="0"/>
                </a:moveTo>
                <a:cubicBezTo>
                  <a:pt x="0" y="0"/>
                  <a:pt x="0" y="10"/>
                  <a:pt x="7" y="10"/>
                </a:cubicBezTo>
                <a:cubicBezTo>
                  <a:pt x="13" y="10"/>
                  <a:pt x="13" y="0"/>
                  <a:pt x="7"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11">
            <a:extLst>
              <a:ext uri="{FF2B5EF4-FFF2-40B4-BE49-F238E27FC236}">
                <a16:creationId xmlns:a16="http://schemas.microsoft.com/office/drawing/2014/main" id="{FEA560AB-68A4-41F2-9C9D-7434B688B5F1}"/>
              </a:ext>
            </a:extLst>
          </p:cNvPr>
          <p:cNvSpPr>
            <a:spLocks/>
          </p:cNvSpPr>
          <p:nvPr userDrawn="1"/>
        </p:nvSpPr>
        <p:spPr bwMode="auto">
          <a:xfrm>
            <a:off x="5259388" y="550863"/>
            <a:ext cx="80963" cy="60325"/>
          </a:xfrm>
          <a:custGeom>
            <a:avLst/>
            <a:gdLst>
              <a:gd name="T0" fmla="*/ 6 w 12"/>
              <a:gd name="T1" fmla="*/ 0 h 9"/>
              <a:gd name="T2" fmla="*/ 6 w 12"/>
              <a:gd name="T3" fmla="*/ 9 h 9"/>
              <a:gd name="T4" fmla="*/ 6 w 12"/>
              <a:gd name="T5" fmla="*/ 0 h 9"/>
            </a:gdLst>
            <a:ahLst/>
            <a:cxnLst>
              <a:cxn ang="0">
                <a:pos x="T0" y="T1"/>
              </a:cxn>
              <a:cxn ang="0">
                <a:pos x="T2" y="T3"/>
              </a:cxn>
              <a:cxn ang="0">
                <a:pos x="T4" y="T5"/>
              </a:cxn>
            </a:cxnLst>
            <a:rect l="0" t="0" r="r" b="b"/>
            <a:pathLst>
              <a:path w="12" h="9">
                <a:moveTo>
                  <a:pt x="6" y="0"/>
                </a:moveTo>
                <a:cubicBezTo>
                  <a:pt x="0" y="0"/>
                  <a:pt x="0" y="9"/>
                  <a:pt x="6" y="9"/>
                </a:cubicBezTo>
                <a:cubicBezTo>
                  <a:pt x="12" y="9"/>
                  <a:pt x="12" y="0"/>
                  <a:pt x="6"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2">
            <a:extLst>
              <a:ext uri="{FF2B5EF4-FFF2-40B4-BE49-F238E27FC236}">
                <a16:creationId xmlns:a16="http://schemas.microsoft.com/office/drawing/2014/main" id="{5FD266CC-54C5-4EDB-904D-5A04D9F5094A}"/>
              </a:ext>
            </a:extLst>
          </p:cNvPr>
          <p:cNvSpPr>
            <a:spLocks/>
          </p:cNvSpPr>
          <p:nvPr userDrawn="1"/>
        </p:nvSpPr>
        <p:spPr bwMode="auto">
          <a:xfrm>
            <a:off x="10996613" y="1614488"/>
            <a:ext cx="80963" cy="60325"/>
          </a:xfrm>
          <a:custGeom>
            <a:avLst/>
            <a:gdLst>
              <a:gd name="T0" fmla="*/ 6 w 12"/>
              <a:gd name="T1" fmla="*/ 0 h 9"/>
              <a:gd name="T2" fmla="*/ 6 w 12"/>
              <a:gd name="T3" fmla="*/ 9 h 9"/>
              <a:gd name="T4" fmla="*/ 6 w 12"/>
              <a:gd name="T5" fmla="*/ 0 h 9"/>
            </a:gdLst>
            <a:ahLst/>
            <a:cxnLst>
              <a:cxn ang="0">
                <a:pos x="T0" y="T1"/>
              </a:cxn>
              <a:cxn ang="0">
                <a:pos x="T2" y="T3"/>
              </a:cxn>
              <a:cxn ang="0">
                <a:pos x="T4" y="T5"/>
              </a:cxn>
            </a:cxnLst>
            <a:rect l="0" t="0" r="r" b="b"/>
            <a:pathLst>
              <a:path w="12" h="9">
                <a:moveTo>
                  <a:pt x="6" y="0"/>
                </a:moveTo>
                <a:cubicBezTo>
                  <a:pt x="0" y="0"/>
                  <a:pt x="0" y="9"/>
                  <a:pt x="6" y="9"/>
                </a:cubicBezTo>
                <a:cubicBezTo>
                  <a:pt x="12" y="9"/>
                  <a:pt x="12" y="0"/>
                  <a:pt x="6"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13">
            <a:extLst>
              <a:ext uri="{FF2B5EF4-FFF2-40B4-BE49-F238E27FC236}">
                <a16:creationId xmlns:a16="http://schemas.microsoft.com/office/drawing/2014/main" id="{FE01E41E-77BE-41A3-B357-4B16717FD41E}"/>
              </a:ext>
            </a:extLst>
          </p:cNvPr>
          <p:cNvSpPr>
            <a:spLocks/>
          </p:cNvSpPr>
          <p:nvPr userDrawn="1"/>
        </p:nvSpPr>
        <p:spPr bwMode="auto">
          <a:xfrm>
            <a:off x="8053388" y="531813"/>
            <a:ext cx="53975" cy="33338"/>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4">
            <a:extLst>
              <a:ext uri="{FF2B5EF4-FFF2-40B4-BE49-F238E27FC236}">
                <a16:creationId xmlns:a16="http://schemas.microsoft.com/office/drawing/2014/main" id="{623AEFEC-88F7-4FED-8D4B-A236E5DE8CB1}"/>
              </a:ext>
            </a:extLst>
          </p:cNvPr>
          <p:cNvSpPr>
            <a:spLocks/>
          </p:cNvSpPr>
          <p:nvPr userDrawn="1"/>
        </p:nvSpPr>
        <p:spPr bwMode="auto">
          <a:xfrm>
            <a:off x="4103688" y="-6350"/>
            <a:ext cx="53975" cy="39688"/>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5">
            <a:extLst>
              <a:ext uri="{FF2B5EF4-FFF2-40B4-BE49-F238E27FC236}">
                <a16:creationId xmlns:a16="http://schemas.microsoft.com/office/drawing/2014/main" id="{D46A161C-2917-43EF-8FCB-93DCC5759141}"/>
              </a:ext>
            </a:extLst>
          </p:cNvPr>
          <p:cNvSpPr>
            <a:spLocks/>
          </p:cNvSpPr>
          <p:nvPr userDrawn="1"/>
        </p:nvSpPr>
        <p:spPr bwMode="auto">
          <a:xfrm>
            <a:off x="839788" y="1062038"/>
            <a:ext cx="53975" cy="41275"/>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rgbClr val="AE53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16">
            <a:extLst>
              <a:ext uri="{FF2B5EF4-FFF2-40B4-BE49-F238E27FC236}">
                <a16:creationId xmlns:a16="http://schemas.microsoft.com/office/drawing/2014/main" id="{C8CB7E63-F436-4561-8E1F-0BB336FE1A8C}"/>
              </a:ext>
            </a:extLst>
          </p:cNvPr>
          <p:cNvSpPr>
            <a:spLocks/>
          </p:cNvSpPr>
          <p:nvPr userDrawn="1"/>
        </p:nvSpPr>
        <p:spPr bwMode="auto">
          <a:xfrm>
            <a:off x="11418888" y="322263"/>
            <a:ext cx="47625" cy="41275"/>
          </a:xfrm>
          <a:custGeom>
            <a:avLst/>
            <a:gdLst>
              <a:gd name="T0" fmla="*/ 4 w 7"/>
              <a:gd name="T1" fmla="*/ 0 h 6"/>
              <a:gd name="T2" fmla="*/ 4 w 7"/>
              <a:gd name="T3" fmla="*/ 6 h 6"/>
              <a:gd name="T4" fmla="*/ 4 w 7"/>
              <a:gd name="T5" fmla="*/ 0 h 6"/>
            </a:gdLst>
            <a:ahLst/>
            <a:cxnLst>
              <a:cxn ang="0">
                <a:pos x="T0" y="T1"/>
              </a:cxn>
              <a:cxn ang="0">
                <a:pos x="T2" y="T3"/>
              </a:cxn>
              <a:cxn ang="0">
                <a:pos x="T4" y="T5"/>
              </a:cxn>
            </a:cxnLst>
            <a:rect l="0" t="0" r="r" b="b"/>
            <a:pathLst>
              <a:path w="7" h="6">
                <a:moveTo>
                  <a:pt x="4" y="0"/>
                </a:moveTo>
                <a:cubicBezTo>
                  <a:pt x="0" y="0"/>
                  <a:pt x="0" y="6"/>
                  <a:pt x="4" y="6"/>
                </a:cubicBezTo>
                <a:cubicBezTo>
                  <a:pt x="7" y="6"/>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17">
            <a:extLst>
              <a:ext uri="{FF2B5EF4-FFF2-40B4-BE49-F238E27FC236}">
                <a16:creationId xmlns:a16="http://schemas.microsoft.com/office/drawing/2014/main" id="{ECA93A5B-F20B-41EA-BAEE-6F2B4F80C4A9}"/>
              </a:ext>
            </a:extLst>
          </p:cNvPr>
          <p:cNvSpPr>
            <a:spLocks/>
          </p:cNvSpPr>
          <p:nvPr userDrawn="1"/>
        </p:nvSpPr>
        <p:spPr bwMode="auto">
          <a:xfrm>
            <a:off x="8766175" y="1801813"/>
            <a:ext cx="53975" cy="34925"/>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rgbClr val="AE53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18">
            <a:extLst>
              <a:ext uri="{FF2B5EF4-FFF2-40B4-BE49-F238E27FC236}">
                <a16:creationId xmlns:a16="http://schemas.microsoft.com/office/drawing/2014/main" id="{35231306-7E1E-4A8B-AE38-550945F2D988}"/>
              </a:ext>
            </a:extLst>
          </p:cNvPr>
          <p:cNvSpPr>
            <a:spLocks/>
          </p:cNvSpPr>
          <p:nvPr userDrawn="1"/>
        </p:nvSpPr>
        <p:spPr bwMode="auto">
          <a:xfrm>
            <a:off x="9807575" y="2724150"/>
            <a:ext cx="53975" cy="39688"/>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9">
            <a:extLst>
              <a:ext uri="{FF2B5EF4-FFF2-40B4-BE49-F238E27FC236}">
                <a16:creationId xmlns:a16="http://schemas.microsoft.com/office/drawing/2014/main" id="{C408AAD7-B8B1-4565-A0CB-8EAB959CCF4E}"/>
              </a:ext>
            </a:extLst>
          </p:cNvPr>
          <p:cNvSpPr>
            <a:spLocks/>
          </p:cNvSpPr>
          <p:nvPr userDrawn="1"/>
        </p:nvSpPr>
        <p:spPr bwMode="auto">
          <a:xfrm>
            <a:off x="2222500" y="2709863"/>
            <a:ext cx="47625" cy="41275"/>
          </a:xfrm>
          <a:custGeom>
            <a:avLst/>
            <a:gdLst>
              <a:gd name="T0" fmla="*/ 3 w 7"/>
              <a:gd name="T1" fmla="*/ 0 h 6"/>
              <a:gd name="T2" fmla="*/ 3 w 7"/>
              <a:gd name="T3" fmla="*/ 6 h 6"/>
              <a:gd name="T4" fmla="*/ 3 w 7"/>
              <a:gd name="T5" fmla="*/ 0 h 6"/>
            </a:gdLst>
            <a:ahLst/>
            <a:cxnLst>
              <a:cxn ang="0">
                <a:pos x="T0" y="T1"/>
              </a:cxn>
              <a:cxn ang="0">
                <a:pos x="T2" y="T3"/>
              </a:cxn>
              <a:cxn ang="0">
                <a:pos x="T4" y="T5"/>
              </a:cxn>
            </a:cxnLst>
            <a:rect l="0" t="0" r="r" b="b"/>
            <a:pathLst>
              <a:path w="7" h="6">
                <a:moveTo>
                  <a:pt x="3" y="0"/>
                </a:moveTo>
                <a:cubicBezTo>
                  <a:pt x="0" y="0"/>
                  <a:pt x="0" y="6"/>
                  <a:pt x="3" y="6"/>
                </a:cubicBezTo>
                <a:cubicBezTo>
                  <a:pt x="7" y="6"/>
                  <a:pt x="7" y="0"/>
                  <a:pt x="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20">
            <a:extLst>
              <a:ext uri="{FF2B5EF4-FFF2-40B4-BE49-F238E27FC236}">
                <a16:creationId xmlns:a16="http://schemas.microsoft.com/office/drawing/2014/main" id="{3FE282A0-2ED5-44F1-AC5D-8940F26F9BA3}"/>
              </a:ext>
            </a:extLst>
          </p:cNvPr>
          <p:cNvSpPr>
            <a:spLocks/>
          </p:cNvSpPr>
          <p:nvPr userDrawn="1"/>
        </p:nvSpPr>
        <p:spPr bwMode="auto">
          <a:xfrm>
            <a:off x="1914525" y="261938"/>
            <a:ext cx="46038" cy="39688"/>
          </a:xfrm>
          <a:custGeom>
            <a:avLst/>
            <a:gdLst>
              <a:gd name="T0" fmla="*/ 4 w 7"/>
              <a:gd name="T1" fmla="*/ 0 h 6"/>
              <a:gd name="T2" fmla="*/ 4 w 7"/>
              <a:gd name="T3" fmla="*/ 6 h 6"/>
              <a:gd name="T4" fmla="*/ 4 w 7"/>
              <a:gd name="T5" fmla="*/ 0 h 6"/>
            </a:gdLst>
            <a:ahLst/>
            <a:cxnLst>
              <a:cxn ang="0">
                <a:pos x="T0" y="T1"/>
              </a:cxn>
              <a:cxn ang="0">
                <a:pos x="T2" y="T3"/>
              </a:cxn>
              <a:cxn ang="0">
                <a:pos x="T4" y="T5"/>
              </a:cxn>
            </a:cxnLst>
            <a:rect l="0" t="0" r="r" b="b"/>
            <a:pathLst>
              <a:path w="7" h="6">
                <a:moveTo>
                  <a:pt x="4" y="0"/>
                </a:moveTo>
                <a:cubicBezTo>
                  <a:pt x="0" y="0"/>
                  <a:pt x="0" y="6"/>
                  <a:pt x="4" y="6"/>
                </a:cubicBezTo>
                <a:cubicBezTo>
                  <a:pt x="7" y="6"/>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1">
            <a:extLst>
              <a:ext uri="{FF2B5EF4-FFF2-40B4-BE49-F238E27FC236}">
                <a16:creationId xmlns:a16="http://schemas.microsoft.com/office/drawing/2014/main" id="{D19E10B3-C111-4C22-B6AF-D215AB6C0BAB}"/>
              </a:ext>
            </a:extLst>
          </p:cNvPr>
          <p:cNvSpPr>
            <a:spLocks/>
          </p:cNvSpPr>
          <p:nvPr userDrawn="1"/>
        </p:nvSpPr>
        <p:spPr bwMode="auto">
          <a:xfrm>
            <a:off x="6462713" y="201613"/>
            <a:ext cx="52388" cy="33338"/>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22">
            <a:extLst>
              <a:ext uri="{FF2B5EF4-FFF2-40B4-BE49-F238E27FC236}">
                <a16:creationId xmlns:a16="http://schemas.microsoft.com/office/drawing/2014/main" id="{3045ED1B-8DA6-4FCB-8759-FFD6DF312647}"/>
              </a:ext>
            </a:extLst>
          </p:cNvPr>
          <p:cNvSpPr>
            <a:spLocks/>
          </p:cNvSpPr>
          <p:nvPr userDrawn="1"/>
        </p:nvSpPr>
        <p:spPr bwMode="auto">
          <a:xfrm>
            <a:off x="9250363" y="1768475"/>
            <a:ext cx="590550" cy="571500"/>
          </a:xfrm>
          <a:custGeom>
            <a:avLst/>
            <a:gdLst>
              <a:gd name="T0" fmla="*/ 50 w 88"/>
              <a:gd name="T1" fmla="*/ 0 h 85"/>
              <a:gd name="T2" fmla="*/ 33 w 88"/>
              <a:gd name="T3" fmla="*/ 3 h 85"/>
              <a:gd name="T4" fmla="*/ 9 w 88"/>
              <a:gd name="T5" fmla="*/ 58 h 85"/>
              <a:gd name="T6" fmla="*/ 50 w 88"/>
              <a:gd name="T7" fmla="*/ 85 h 85"/>
              <a:gd name="T8" fmla="*/ 66 w 88"/>
              <a:gd name="T9" fmla="*/ 82 h 85"/>
              <a:gd name="T10" fmla="*/ 88 w 88"/>
              <a:gd name="T11" fmla="*/ 63 h 85"/>
              <a:gd name="T12" fmla="*/ 73 w 88"/>
              <a:gd name="T13" fmla="*/ 73 h 85"/>
              <a:gd name="T14" fmla="*/ 59 w 88"/>
              <a:gd name="T15" fmla="*/ 76 h 85"/>
              <a:gd name="T16" fmla="*/ 22 w 88"/>
              <a:gd name="T17" fmla="*/ 52 h 85"/>
              <a:gd name="T18" fmla="*/ 44 w 88"/>
              <a:gd name="T19" fmla="*/ 3 h 85"/>
              <a:gd name="T20" fmla="*/ 54 w 88"/>
              <a:gd name="T21" fmla="*/ 0 h 85"/>
              <a:gd name="T22" fmla="*/ 50 w 88"/>
              <a:gd name="T2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85">
                <a:moveTo>
                  <a:pt x="50" y="0"/>
                </a:moveTo>
                <a:cubicBezTo>
                  <a:pt x="44" y="0"/>
                  <a:pt x="39" y="1"/>
                  <a:pt x="33" y="3"/>
                </a:cubicBezTo>
                <a:cubicBezTo>
                  <a:pt x="11" y="12"/>
                  <a:pt x="0" y="36"/>
                  <a:pt x="9" y="58"/>
                </a:cubicBezTo>
                <a:cubicBezTo>
                  <a:pt x="16" y="74"/>
                  <a:pt x="32" y="85"/>
                  <a:pt x="50" y="85"/>
                </a:cubicBezTo>
                <a:cubicBezTo>
                  <a:pt x="55" y="85"/>
                  <a:pt x="61" y="84"/>
                  <a:pt x="66" y="82"/>
                </a:cubicBezTo>
                <a:cubicBezTo>
                  <a:pt x="75" y="78"/>
                  <a:pt x="83" y="71"/>
                  <a:pt x="88" y="63"/>
                </a:cubicBezTo>
                <a:cubicBezTo>
                  <a:pt x="84" y="67"/>
                  <a:pt x="79" y="71"/>
                  <a:pt x="73" y="73"/>
                </a:cubicBezTo>
                <a:cubicBezTo>
                  <a:pt x="68" y="75"/>
                  <a:pt x="64" y="76"/>
                  <a:pt x="59" y="76"/>
                </a:cubicBezTo>
                <a:cubicBezTo>
                  <a:pt x="43" y="76"/>
                  <a:pt x="28" y="67"/>
                  <a:pt x="22" y="52"/>
                </a:cubicBezTo>
                <a:cubicBezTo>
                  <a:pt x="14" y="32"/>
                  <a:pt x="24" y="10"/>
                  <a:pt x="44" y="3"/>
                </a:cubicBezTo>
                <a:cubicBezTo>
                  <a:pt x="48" y="1"/>
                  <a:pt x="51" y="1"/>
                  <a:pt x="54" y="0"/>
                </a:cubicBezTo>
                <a:cubicBezTo>
                  <a:pt x="53" y="0"/>
                  <a:pt x="51" y="0"/>
                  <a:pt x="50" y="0"/>
                </a:cubicBezTo>
              </a:path>
            </a:pathLst>
          </a:custGeom>
          <a:solidFill>
            <a:schemeClr val="accent4">
              <a:alpha val="2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9" name="Rectangle 110">
            <a:extLst>
              <a:ext uri="{FF2B5EF4-FFF2-40B4-BE49-F238E27FC236}">
                <a16:creationId xmlns:a16="http://schemas.microsoft.com/office/drawing/2014/main" id="{6CE96B0B-C8CF-4840-A130-9DFF56F6A7C6}"/>
              </a:ext>
            </a:extLst>
          </p:cNvPr>
          <p:cNvSpPr>
            <a:spLocks noChangeArrowheads="1"/>
          </p:cNvSpPr>
          <p:nvPr userDrawn="1"/>
        </p:nvSpPr>
        <p:spPr bwMode="auto">
          <a:xfrm>
            <a:off x="11114" y="5907501"/>
            <a:ext cx="12180888" cy="990600"/>
          </a:xfrm>
          <a:prstGeom prst="rect">
            <a:avLst/>
          </a:prstGeom>
          <a:solidFill>
            <a:schemeClr val="accent2">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0" name="Rectangle 111">
            <a:extLst>
              <a:ext uri="{FF2B5EF4-FFF2-40B4-BE49-F238E27FC236}">
                <a16:creationId xmlns:a16="http://schemas.microsoft.com/office/drawing/2014/main" id="{8624E990-F0AE-4895-B389-A5947E19A31A}"/>
              </a:ext>
            </a:extLst>
          </p:cNvPr>
          <p:cNvSpPr>
            <a:spLocks noChangeArrowheads="1"/>
          </p:cNvSpPr>
          <p:nvPr userDrawn="1"/>
        </p:nvSpPr>
        <p:spPr bwMode="auto">
          <a:xfrm>
            <a:off x="-2" y="5253995"/>
            <a:ext cx="12180888" cy="565150"/>
          </a:xfrm>
          <a:prstGeom prst="rect">
            <a:avLst/>
          </a:prstGeom>
          <a:solidFill>
            <a:schemeClr val="accent1">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1" name="Rectangle 112">
            <a:extLst>
              <a:ext uri="{FF2B5EF4-FFF2-40B4-BE49-F238E27FC236}">
                <a16:creationId xmlns:a16="http://schemas.microsoft.com/office/drawing/2014/main" id="{36A1B89C-E9F2-4831-A1AF-A1E24D631627}"/>
              </a:ext>
            </a:extLst>
          </p:cNvPr>
          <p:cNvSpPr>
            <a:spLocks noChangeArrowheads="1"/>
          </p:cNvSpPr>
          <p:nvPr userDrawn="1"/>
        </p:nvSpPr>
        <p:spPr bwMode="auto">
          <a:xfrm>
            <a:off x="-2" y="4846008"/>
            <a:ext cx="12180888" cy="407988"/>
          </a:xfrm>
          <a:prstGeom prst="rect">
            <a:avLst/>
          </a:prstGeom>
          <a:solidFill>
            <a:schemeClr val="accent3">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2" name="Rectangle 113">
            <a:extLst>
              <a:ext uri="{FF2B5EF4-FFF2-40B4-BE49-F238E27FC236}">
                <a16:creationId xmlns:a16="http://schemas.microsoft.com/office/drawing/2014/main" id="{720BDB36-DD4E-4451-8716-5F4B1EFA3AE8}"/>
              </a:ext>
            </a:extLst>
          </p:cNvPr>
          <p:cNvSpPr>
            <a:spLocks noChangeArrowheads="1"/>
          </p:cNvSpPr>
          <p:nvPr userDrawn="1"/>
        </p:nvSpPr>
        <p:spPr bwMode="auto">
          <a:xfrm>
            <a:off x="-2" y="4630108"/>
            <a:ext cx="12180888" cy="2159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3" name="Freeform 40">
            <a:extLst>
              <a:ext uri="{FF2B5EF4-FFF2-40B4-BE49-F238E27FC236}">
                <a16:creationId xmlns:a16="http://schemas.microsoft.com/office/drawing/2014/main" id="{7508E716-B1A3-4F09-B5B2-DA0E1CC683FC}"/>
              </a:ext>
            </a:extLst>
          </p:cNvPr>
          <p:cNvSpPr>
            <a:spLocks/>
          </p:cNvSpPr>
          <p:nvPr userDrawn="1"/>
        </p:nvSpPr>
        <p:spPr bwMode="auto">
          <a:xfrm>
            <a:off x="982208" y="5565088"/>
            <a:ext cx="1560244" cy="705537"/>
          </a:xfrm>
          <a:custGeom>
            <a:avLst/>
            <a:gdLst>
              <a:gd name="T0" fmla="*/ 515 w 774"/>
              <a:gd name="T1" fmla="*/ 350 h 350"/>
              <a:gd name="T2" fmla="*/ 0 w 774"/>
              <a:gd name="T3" fmla="*/ 350 h 350"/>
              <a:gd name="T4" fmla="*/ 431 w 774"/>
              <a:gd name="T5" fmla="*/ 0 h 350"/>
              <a:gd name="T6" fmla="*/ 774 w 774"/>
              <a:gd name="T7" fmla="*/ 0 h 350"/>
              <a:gd name="T8" fmla="*/ 515 w 774"/>
              <a:gd name="T9" fmla="*/ 350 h 350"/>
            </a:gdLst>
            <a:ahLst/>
            <a:cxnLst>
              <a:cxn ang="0">
                <a:pos x="T0" y="T1"/>
              </a:cxn>
              <a:cxn ang="0">
                <a:pos x="T2" y="T3"/>
              </a:cxn>
              <a:cxn ang="0">
                <a:pos x="T4" y="T5"/>
              </a:cxn>
              <a:cxn ang="0">
                <a:pos x="T6" y="T7"/>
              </a:cxn>
              <a:cxn ang="0">
                <a:pos x="T8" y="T9"/>
              </a:cxn>
            </a:cxnLst>
            <a:rect l="0" t="0" r="r" b="b"/>
            <a:pathLst>
              <a:path w="774" h="350">
                <a:moveTo>
                  <a:pt x="515" y="350"/>
                </a:moveTo>
                <a:lnTo>
                  <a:pt x="0" y="350"/>
                </a:lnTo>
                <a:lnTo>
                  <a:pt x="431" y="0"/>
                </a:lnTo>
                <a:lnTo>
                  <a:pt x="774" y="0"/>
                </a:lnTo>
                <a:lnTo>
                  <a:pt x="515" y="350"/>
                </a:lnTo>
                <a:close/>
              </a:path>
            </a:pathLst>
          </a:custGeom>
          <a:gradFill>
            <a:gsLst>
              <a:gs pos="900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4" name="Freeform 41">
            <a:extLst>
              <a:ext uri="{FF2B5EF4-FFF2-40B4-BE49-F238E27FC236}">
                <a16:creationId xmlns:a16="http://schemas.microsoft.com/office/drawing/2014/main" id="{D7E24BB0-07F4-4904-8724-E20DCA0295F5}"/>
              </a:ext>
            </a:extLst>
          </p:cNvPr>
          <p:cNvSpPr>
            <a:spLocks/>
          </p:cNvSpPr>
          <p:nvPr userDrawn="1"/>
        </p:nvSpPr>
        <p:spPr bwMode="auto">
          <a:xfrm>
            <a:off x="1851027" y="5329237"/>
            <a:ext cx="691426" cy="235851"/>
          </a:xfrm>
          <a:custGeom>
            <a:avLst/>
            <a:gdLst>
              <a:gd name="T0" fmla="*/ 269 w 343"/>
              <a:gd name="T1" fmla="*/ 30 h 117"/>
              <a:gd name="T2" fmla="*/ 119 w 343"/>
              <a:gd name="T3" fmla="*/ 0 h 117"/>
              <a:gd name="T4" fmla="*/ 0 w 343"/>
              <a:gd name="T5" fmla="*/ 117 h 117"/>
              <a:gd name="T6" fmla="*/ 343 w 343"/>
              <a:gd name="T7" fmla="*/ 117 h 117"/>
              <a:gd name="T8" fmla="*/ 269 w 343"/>
              <a:gd name="T9" fmla="*/ 30 h 117"/>
            </a:gdLst>
            <a:ahLst/>
            <a:cxnLst>
              <a:cxn ang="0">
                <a:pos x="T0" y="T1"/>
              </a:cxn>
              <a:cxn ang="0">
                <a:pos x="T2" y="T3"/>
              </a:cxn>
              <a:cxn ang="0">
                <a:pos x="T4" y="T5"/>
              </a:cxn>
              <a:cxn ang="0">
                <a:pos x="T6" y="T7"/>
              </a:cxn>
              <a:cxn ang="0">
                <a:pos x="T8" y="T9"/>
              </a:cxn>
            </a:cxnLst>
            <a:rect l="0" t="0" r="r" b="b"/>
            <a:pathLst>
              <a:path w="343" h="117">
                <a:moveTo>
                  <a:pt x="269" y="30"/>
                </a:moveTo>
                <a:lnTo>
                  <a:pt x="119" y="0"/>
                </a:lnTo>
                <a:lnTo>
                  <a:pt x="0" y="117"/>
                </a:lnTo>
                <a:lnTo>
                  <a:pt x="343" y="117"/>
                </a:lnTo>
                <a:lnTo>
                  <a:pt x="269" y="3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42">
            <a:extLst>
              <a:ext uri="{FF2B5EF4-FFF2-40B4-BE49-F238E27FC236}">
                <a16:creationId xmlns:a16="http://schemas.microsoft.com/office/drawing/2014/main" id="{5289FBCD-F92E-4025-ABD9-80183BE83A3D}"/>
              </a:ext>
            </a:extLst>
          </p:cNvPr>
          <p:cNvSpPr>
            <a:spLocks/>
          </p:cNvSpPr>
          <p:nvPr userDrawn="1"/>
        </p:nvSpPr>
        <p:spPr bwMode="auto">
          <a:xfrm>
            <a:off x="1851027" y="5329237"/>
            <a:ext cx="691426" cy="235851"/>
          </a:xfrm>
          <a:custGeom>
            <a:avLst/>
            <a:gdLst>
              <a:gd name="T0" fmla="*/ 269 w 343"/>
              <a:gd name="T1" fmla="*/ 45 h 117"/>
              <a:gd name="T2" fmla="*/ 119 w 343"/>
              <a:gd name="T3" fmla="*/ 0 h 117"/>
              <a:gd name="T4" fmla="*/ 0 w 343"/>
              <a:gd name="T5" fmla="*/ 117 h 117"/>
              <a:gd name="T6" fmla="*/ 343 w 343"/>
              <a:gd name="T7" fmla="*/ 117 h 117"/>
              <a:gd name="T8" fmla="*/ 269 w 343"/>
              <a:gd name="T9" fmla="*/ 45 h 117"/>
            </a:gdLst>
            <a:ahLst/>
            <a:cxnLst>
              <a:cxn ang="0">
                <a:pos x="T0" y="T1"/>
              </a:cxn>
              <a:cxn ang="0">
                <a:pos x="T2" y="T3"/>
              </a:cxn>
              <a:cxn ang="0">
                <a:pos x="T4" y="T5"/>
              </a:cxn>
              <a:cxn ang="0">
                <a:pos x="T6" y="T7"/>
              </a:cxn>
              <a:cxn ang="0">
                <a:pos x="T8" y="T9"/>
              </a:cxn>
            </a:cxnLst>
            <a:rect l="0" t="0" r="r" b="b"/>
            <a:pathLst>
              <a:path w="343" h="117">
                <a:moveTo>
                  <a:pt x="269" y="45"/>
                </a:moveTo>
                <a:lnTo>
                  <a:pt x="119" y="0"/>
                </a:lnTo>
                <a:lnTo>
                  <a:pt x="0" y="117"/>
                </a:lnTo>
                <a:lnTo>
                  <a:pt x="343" y="117"/>
                </a:lnTo>
                <a:lnTo>
                  <a:pt x="269" y="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36" name="组合 35">
            <a:extLst>
              <a:ext uri="{FF2B5EF4-FFF2-40B4-BE49-F238E27FC236}">
                <a16:creationId xmlns:a16="http://schemas.microsoft.com/office/drawing/2014/main" id="{AB37D1CC-9FF7-486C-8E98-C8F2596C21DE}"/>
              </a:ext>
            </a:extLst>
          </p:cNvPr>
          <p:cNvGrpSpPr/>
          <p:nvPr userDrawn="1"/>
        </p:nvGrpSpPr>
        <p:grpSpPr>
          <a:xfrm>
            <a:off x="2125178" y="5710227"/>
            <a:ext cx="721663" cy="560398"/>
            <a:chOff x="2125178" y="5710227"/>
            <a:chExt cx="721663" cy="560398"/>
          </a:xfrm>
        </p:grpSpPr>
        <p:sp>
          <p:nvSpPr>
            <p:cNvPr id="61" name="Freeform 43">
              <a:extLst>
                <a:ext uri="{FF2B5EF4-FFF2-40B4-BE49-F238E27FC236}">
                  <a16:creationId xmlns:a16="http://schemas.microsoft.com/office/drawing/2014/main" id="{873FA5FB-2566-402D-9003-9681C3F393F4}"/>
                </a:ext>
              </a:extLst>
            </p:cNvPr>
            <p:cNvSpPr>
              <a:spLocks/>
            </p:cNvSpPr>
            <p:nvPr userDrawn="1"/>
          </p:nvSpPr>
          <p:spPr bwMode="auto">
            <a:xfrm>
              <a:off x="2483994" y="5710227"/>
              <a:ext cx="362847" cy="114902"/>
            </a:xfrm>
            <a:custGeom>
              <a:avLst/>
              <a:gdLst>
                <a:gd name="T0" fmla="*/ 133 w 180"/>
                <a:gd name="T1" fmla="*/ 0 h 57"/>
                <a:gd name="T2" fmla="*/ 74 w 180"/>
                <a:gd name="T3" fmla="*/ 0 h 57"/>
                <a:gd name="T4" fmla="*/ 0 w 180"/>
                <a:gd name="T5" fmla="*/ 57 h 57"/>
                <a:gd name="T6" fmla="*/ 180 w 180"/>
                <a:gd name="T7" fmla="*/ 57 h 57"/>
                <a:gd name="T8" fmla="*/ 133 w 180"/>
                <a:gd name="T9" fmla="*/ 0 h 57"/>
              </a:gdLst>
              <a:ahLst/>
              <a:cxnLst>
                <a:cxn ang="0">
                  <a:pos x="T0" y="T1"/>
                </a:cxn>
                <a:cxn ang="0">
                  <a:pos x="T2" y="T3"/>
                </a:cxn>
                <a:cxn ang="0">
                  <a:pos x="T4" y="T5"/>
                </a:cxn>
                <a:cxn ang="0">
                  <a:pos x="T6" y="T7"/>
                </a:cxn>
                <a:cxn ang="0">
                  <a:pos x="T8" y="T9"/>
                </a:cxn>
              </a:cxnLst>
              <a:rect l="0" t="0" r="r" b="b"/>
              <a:pathLst>
                <a:path w="180" h="57">
                  <a:moveTo>
                    <a:pt x="133" y="0"/>
                  </a:moveTo>
                  <a:lnTo>
                    <a:pt x="74" y="0"/>
                  </a:lnTo>
                  <a:lnTo>
                    <a:pt x="0" y="57"/>
                  </a:lnTo>
                  <a:lnTo>
                    <a:pt x="180" y="57"/>
                  </a:lnTo>
                  <a:lnTo>
                    <a:pt x="133" y="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44">
              <a:extLst>
                <a:ext uri="{FF2B5EF4-FFF2-40B4-BE49-F238E27FC236}">
                  <a16:creationId xmlns:a16="http://schemas.microsoft.com/office/drawing/2014/main" id="{07E76641-178F-4B45-89A3-E3CE315DB994}"/>
                </a:ext>
              </a:extLst>
            </p:cNvPr>
            <p:cNvSpPr>
              <a:spLocks/>
            </p:cNvSpPr>
            <p:nvPr userDrawn="1"/>
          </p:nvSpPr>
          <p:spPr bwMode="auto">
            <a:xfrm>
              <a:off x="2483994" y="5740464"/>
              <a:ext cx="362847" cy="84664"/>
            </a:xfrm>
            <a:custGeom>
              <a:avLst/>
              <a:gdLst>
                <a:gd name="T0" fmla="*/ 133 w 180"/>
                <a:gd name="T1" fmla="*/ 0 h 42"/>
                <a:gd name="T2" fmla="*/ 74 w 180"/>
                <a:gd name="T3" fmla="*/ 0 h 42"/>
                <a:gd name="T4" fmla="*/ 0 w 180"/>
                <a:gd name="T5" fmla="*/ 42 h 42"/>
                <a:gd name="T6" fmla="*/ 180 w 180"/>
                <a:gd name="T7" fmla="*/ 42 h 42"/>
                <a:gd name="T8" fmla="*/ 133 w 180"/>
                <a:gd name="T9" fmla="*/ 0 h 42"/>
              </a:gdLst>
              <a:ahLst/>
              <a:cxnLst>
                <a:cxn ang="0">
                  <a:pos x="T0" y="T1"/>
                </a:cxn>
                <a:cxn ang="0">
                  <a:pos x="T2" y="T3"/>
                </a:cxn>
                <a:cxn ang="0">
                  <a:pos x="T4" y="T5"/>
                </a:cxn>
                <a:cxn ang="0">
                  <a:pos x="T6" y="T7"/>
                </a:cxn>
                <a:cxn ang="0">
                  <a:pos x="T8" y="T9"/>
                </a:cxn>
              </a:cxnLst>
              <a:rect l="0" t="0" r="r" b="b"/>
              <a:pathLst>
                <a:path w="180" h="42">
                  <a:moveTo>
                    <a:pt x="133" y="0"/>
                  </a:moveTo>
                  <a:lnTo>
                    <a:pt x="74" y="0"/>
                  </a:lnTo>
                  <a:lnTo>
                    <a:pt x="0" y="42"/>
                  </a:lnTo>
                  <a:lnTo>
                    <a:pt x="180" y="42"/>
                  </a:lnTo>
                  <a:lnTo>
                    <a:pt x="13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3" name="Freeform 45">
              <a:extLst>
                <a:ext uri="{FF2B5EF4-FFF2-40B4-BE49-F238E27FC236}">
                  <a16:creationId xmlns:a16="http://schemas.microsoft.com/office/drawing/2014/main" id="{F64409F7-6767-4396-94D2-AE0A6CA486BE}"/>
                </a:ext>
              </a:extLst>
            </p:cNvPr>
            <p:cNvSpPr>
              <a:spLocks/>
            </p:cNvSpPr>
            <p:nvPr userDrawn="1"/>
          </p:nvSpPr>
          <p:spPr bwMode="auto">
            <a:xfrm>
              <a:off x="2125178" y="5825128"/>
              <a:ext cx="721663" cy="445497"/>
            </a:xfrm>
            <a:custGeom>
              <a:avLst/>
              <a:gdLst>
                <a:gd name="T0" fmla="*/ 249 w 358"/>
                <a:gd name="T1" fmla="*/ 221 h 221"/>
                <a:gd name="T2" fmla="*/ 0 w 358"/>
                <a:gd name="T3" fmla="*/ 221 h 221"/>
                <a:gd name="T4" fmla="*/ 178 w 358"/>
                <a:gd name="T5" fmla="*/ 0 h 221"/>
                <a:gd name="T6" fmla="*/ 358 w 358"/>
                <a:gd name="T7" fmla="*/ 0 h 221"/>
                <a:gd name="T8" fmla="*/ 249 w 358"/>
                <a:gd name="T9" fmla="*/ 221 h 221"/>
              </a:gdLst>
              <a:ahLst/>
              <a:cxnLst>
                <a:cxn ang="0">
                  <a:pos x="T0" y="T1"/>
                </a:cxn>
                <a:cxn ang="0">
                  <a:pos x="T2" y="T3"/>
                </a:cxn>
                <a:cxn ang="0">
                  <a:pos x="T4" y="T5"/>
                </a:cxn>
                <a:cxn ang="0">
                  <a:pos x="T6" y="T7"/>
                </a:cxn>
                <a:cxn ang="0">
                  <a:pos x="T8" y="T9"/>
                </a:cxn>
              </a:cxnLst>
              <a:rect l="0" t="0" r="r" b="b"/>
              <a:pathLst>
                <a:path w="358" h="221">
                  <a:moveTo>
                    <a:pt x="249" y="221"/>
                  </a:moveTo>
                  <a:lnTo>
                    <a:pt x="0" y="221"/>
                  </a:lnTo>
                  <a:lnTo>
                    <a:pt x="178" y="0"/>
                  </a:lnTo>
                  <a:lnTo>
                    <a:pt x="358" y="0"/>
                  </a:lnTo>
                  <a:lnTo>
                    <a:pt x="249" y="221"/>
                  </a:lnTo>
                  <a:close/>
                </a:path>
              </a:pathLst>
            </a:custGeom>
            <a:gradFill>
              <a:gsLst>
                <a:gs pos="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grpSp>
        <p:nvGrpSpPr>
          <p:cNvPr id="37" name="组合 36">
            <a:extLst>
              <a:ext uri="{FF2B5EF4-FFF2-40B4-BE49-F238E27FC236}">
                <a16:creationId xmlns:a16="http://schemas.microsoft.com/office/drawing/2014/main" id="{457655A9-5874-4253-9646-B427DA72CACC}"/>
              </a:ext>
            </a:extLst>
          </p:cNvPr>
          <p:cNvGrpSpPr/>
          <p:nvPr userDrawn="1"/>
        </p:nvGrpSpPr>
        <p:grpSpPr>
          <a:xfrm flipH="1">
            <a:off x="9861550" y="5521392"/>
            <a:ext cx="721663" cy="560398"/>
            <a:chOff x="2125178" y="5710227"/>
            <a:chExt cx="721663" cy="560398"/>
          </a:xfrm>
        </p:grpSpPr>
        <p:sp>
          <p:nvSpPr>
            <p:cNvPr id="58" name="Freeform 43">
              <a:extLst>
                <a:ext uri="{FF2B5EF4-FFF2-40B4-BE49-F238E27FC236}">
                  <a16:creationId xmlns:a16="http://schemas.microsoft.com/office/drawing/2014/main" id="{5CC7CA33-B83D-472F-ADF7-B66E3420A94D}"/>
                </a:ext>
              </a:extLst>
            </p:cNvPr>
            <p:cNvSpPr>
              <a:spLocks/>
            </p:cNvSpPr>
            <p:nvPr userDrawn="1"/>
          </p:nvSpPr>
          <p:spPr bwMode="auto">
            <a:xfrm>
              <a:off x="2483994" y="5710227"/>
              <a:ext cx="362847" cy="114902"/>
            </a:xfrm>
            <a:custGeom>
              <a:avLst/>
              <a:gdLst>
                <a:gd name="T0" fmla="*/ 133 w 180"/>
                <a:gd name="T1" fmla="*/ 0 h 57"/>
                <a:gd name="T2" fmla="*/ 74 w 180"/>
                <a:gd name="T3" fmla="*/ 0 h 57"/>
                <a:gd name="T4" fmla="*/ 0 w 180"/>
                <a:gd name="T5" fmla="*/ 57 h 57"/>
                <a:gd name="T6" fmla="*/ 180 w 180"/>
                <a:gd name="T7" fmla="*/ 57 h 57"/>
                <a:gd name="T8" fmla="*/ 133 w 180"/>
                <a:gd name="T9" fmla="*/ 0 h 57"/>
              </a:gdLst>
              <a:ahLst/>
              <a:cxnLst>
                <a:cxn ang="0">
                  <a:pos x="T0" y="T1"/>
                </a:cxn>
                <a:cxn ang="0">
                  <a:pos x="T2" y="T3"/>
                </a:cxn>
                <a:cxn ang="0">
                  <a:pos x="T4" y="T5"/>
                </a:cxn>
                <a:cxn ang="0">
                  <a:pos x="T6" y="T7"/>
                </a:cxn>
                <a:cxn ang="0">
                  <a:pos x="T8" y="T9"/>
                </a:cxn>
              </a:cxnLst>
              <a:rect l="0" t="0" r="r" b="b"/>
              <a:pathLst>
                <a:path w="180" h="57">
                  <a:moveTo>
                    <a:pt x="133" y="0"/>
                  </a:moveTo>
                  <a:lnTo>
                    <a:pt x="74" y="0"/>
                  </a:lnTo>
                  <a:lnTo>
                    <a:pt x="0" y="57"/>
                  </a:lnTo>
                  <a:lnTo>
                    <a:pt x="180" y="57"/>
                  </a:lnTo>
                  <a:lnTo>
                    <a:pt x="133" y="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9" name="Freeform 44">
              <a:extLst>
                <a:ext uri="{FF2B5EF4-FFF2-40B4-BE49-F238E27FC236}">
                  <a16:creationId xmlns:a16="http://schemas.microsoft.com/office/drawing/2014/main" id="{391291E1-84E2-4789-96D7-987F0B142B85}"/>
                </a:ext>
              </a:extLst>
            </p:cNvPr>
            <p:cNvSpPr>
              <a:spLocks/>
            </p:cNvSpPr>
            <p:nvPr userDrawn="1"/>
          </p:nvSpPr>
          <p:spPr bwMode="auto">
            <a:xfrm>
              <a:off x="2483994" y="5740464"/>
              <a:ext cx="362847" cy="84664"/>
            </a:xfrm>
            <a:custGeom>
              <a:avLst/>
              <a:gdLst>
                <a:gd name="T0" fmla="*/ 133 w 180"/>
                <a:gd name="T1" fmla="*/ 0 h 42"/>
                <a:gd name="T2" fmla="*/ 74 w 180"/>
                <a:gd name="T3" fmla="*/ 0 h 42"/>
                <a:gd name="T4" fmla="*/ 0 w 180"/>
                <a:gd name="T5" fmla="*/ 42 h 42"/>
                <a:gd name="T6" fmla="*/ 180 w 180"/>
                <a:gd name="T7" fmla="*/ 42 h 42"/>
                <a:gd name="T8" fmla="*/ 133 w 180"/>
                <a:gd name="T9" fmla="*/ 0 h 42"/>
              </a:gdLst>
              <a:ahLst/>
              <a:cxnLst>
                <a:cxn ang="0">
                  <a:pos x="T0" y="T1"/>
                </a:cxn>
                <a:cxn ang="0">
                  <a:pos x="T2" y="T3"/>
                </a:cxn>
                <a:cxn ang="0">
                  <a:pos x="T4" y="T5"/>
                </a:cxn>
                <a:cxn ang="0">
                  <a:pos x="T6" y="T7"/>
                </a:cxn>
                <a:cxn ang="0">
                  <a:pos x="T8" y="T9"/>
                </a:cxn>
              </a:cxnLst>
              <a:rect l="0" t="0" r="r" b="b"/>
              <a:pathLst>
                <a:path w="180" h="42">
                  <a:moveTo>
                    <a:pt x="133" y="0"/>
                  </a:moveTo>
                  <a:lnTo>
                    <a:pt x="74" y="0"/>
                  </a:lnTo>
                  <a:lnTo>
                    <a:pt x="0" y="42"/>
                  </a:lnTo>
                  <a:lnTo>
                    <a:pt x="180" y="42"/>
                  </a:lnTo>
                  <a:lnTo>
                    <a:pt x="13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45">
              <a:extLst>
                <a:ext uri="{FF2B5EF4-FFF2-40B4-BE49-F238E27FC236}">
                  <a16:creationId xmlns:a16="http://schemas.microsoft.com/office/drawing/2014/main" id="{CE25ECDE-1CC5-4E3A-B1F9-EDCEC3255395}"/>
                </a:ext>
              </a:extLst>
            </p:cNvPr>
            <p:cNvSpPr>
              <a:spLocks/>
            </p:cNvSpPr>
            <p:nvPr userDrawn="1"/>
          </p:nvSpPr>
          <p:spPr bwMode="auto">
            <a:xfrm>
              <a:off x="2125178" y="5825128"/>
              <a:ext cx="721663" cy="445497"/>
            </a:xfrm>
            <a:custGeom>
              <a:avLst/>
              <a:gdLst>
                <a:gd name="T0" fmla="*/ 249 w 358"/>
                <a:gd name="T1" fmla="*/ 221 h 221"/>
                <a:gd name="T2" fmla="*/ 0 w 358"/>
                <a:gd name="T3" fmla="*/ 221 h 221"/>
                <a:gd name="T4" fmla="*/ 178 w 358"/>
                <a:gd name="T5" fmla="*/ 0 h 221"/>
                <a:gd name="T6" fmla="*/ 358 w 358"/>
                <a:gd name="T7" fmla="*/ 0 h 221"/>
                <a:gd name="T8" fmla="*/ 249 w 358"/>
                <a:gd name="T9" fmla="*/ 221 h 221"/>
              </a:gdLst>
              <a:ahLst/>
              <a:cxnLst>
                <a:cxn ang="0">
                  <a:pos x="T0" y="T1"/>
                </a:cxn>
                <a:cxn ang="0">
                  <a:pos x="T2" y="T3"/>
                </a:cxn>
                <a:cxn ang="0">
                  <a:pos x="T4" y="T5"/>
                </a:cxn>
                <a:cxn ang="0">
                  <a:pos x="T6" y="T7"/>
                </a:cxn>
                <a:cxn ang="0">
                  <a:pos x="T8" y="T9"/>
                </a:cxn>
              </a:cxnLst>
              <a:rect l="0" t="0" r="r" b="b"/>
              <a:pathLst>
                <a:path w="358" h="221">
                  <a:moveTo>
                    <a:pt x="249" y="221"/>
                  </a:moveTo>
                  <a:lnTo>
                    <a:pt x="0" y="221"/>
                  </a:lnTo>
                  <a:lnTo>
                    <a:pt x="178" y="0"/>
                  </a:lnTo>
                  <a:lnTo>
                    <a:pt x="358" y="0"/>
                  </a:lnTo>
                  <a:lnTo>
                    <a:pt x="249" y="221"/>
                  </a:lnTo>
                  <a:close/>
                </a:path>
              </a:pathLst>
            </a:custGeom>
            <a:gradFill>
              <a:gsLst>
                <a:gs pos="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grpSp>
        <p:nvGrpSpPr>
          <p:cNvPr id="39" name="组合 38">
            <a:extLst>
              <a:ext uri="{FF2B5EF4-FFF2-40B4-BE49-F238E27FC236}">
                <a16:creationId xmlns:a16="http://schemas.microsoft.com/office/drawing/2014/main" id="{0517E4EE-E0E4-4C1C-841C-CDE9D9964333}"/>
              </a:ext>
            </a:extLst>
          </p:cNvPr>
          <p:cNvGrpSpPr/>
          <p:nvPr userDrawn="1"/>
        </p:nvGrpSpPr>
        <p:grpSpPr>
          <a:xfrm>
            <a:off x="4393480" y="4043602"/>
            <a:ext cx="3495806" cy="2528701"/>
            <a:chOff x="4387197" y="4112199"/>
            <a:chExt cx="3495806" cy="2528701"/>
          </a:xfrm>
        </p:grpSpPr>
        <p:sp>
          <p:nvSpPr>
            <p:cNvPr id="40" name="Freeform 84">
              <a:extLst>
                <a:ext uri="{FF2B5EF4-FFF2-40B4-BE49-F238E27FC236}">
                  <a16:creationId xmlns:a16="http://schemas.microsoft.com/office/drawing/2014/main" id="{9F939038-35D2-47CD-9FCE-77AFC0A08C96}"/>
                </a:ext>
              </a:extLst>
            </p:cNvPr>
            <p:cNvSpPr>
              <a:spLocks/>
            </p:cNvSpPr>
            <p:nvPr userDrawn="1"/>
          </p:nvSpPr>
          <p:spPr bwMode="auto">
            <a:xfrm>
              <a:off x="4387197" y="5329964"/>
              <a:ext cx="3495806" cy="1310936"/>
            </a:xfrm>
            <a:custGeom>
              <a:avLst/>
              <a:gdLst>
                <a:gd name="T0" fmla="*/ 1018 w 1375"/>
                <a:gd name="T1" fmla="*/ 0 h 386"/>
                <a:gd name="T2" fmla="*/ 357 w 1375"/>
                <a:gd name="T3" fmla="*/ 0 h 386"/>
                <a:gd name="T4" fmla="*/ 0 w 1375"/>
                <a:gd name="T5" fmla="*/ 386 h 386"/>
                <a:gd name="T6" fmla="*/ 1375 w 1375"/>
                <a:gd name="T7" fmla="*/ 386 h 386"/>
                <a:gd name="T8" fmla="*/ 1018 w 1375"/>
                <a:gd name="T9" fmla="*/ 0 h 386"/>
              </a:gdLst>
              <a:ahLst/>
              <a:cxnLst>
                <a:cxn ang="0">
                  <a:pos x="T0" y="T1"/>
                </a:cxn>
                <a:cxn ang="0">
                  <a:pos x="T2" y="T3"/>
                </a:cxn>
                <a:cxn ang="0">
                  <a:pos x="T4" y="T5"/>
                </a:cxn>
                <a:cxn ang="0">
                  <a:pos x="T6" y="T7"/>
                </a:cxn>
                <a:cxn ang="0">
                  <a:pos x="T8" y="T9"/>
                </a:cxn>
              </a:cxnLst>
              <a:rect l="0" t="0" r="r" b="b"/>
              <a:pathLst>
                <a:path w="1375" h="386">
                  <a:moveTo>
                    <a:pt x="1018" y="0"/>
                  </a:moveTo>
                  <a:lnTo>
                    <a:pt x="357" y="0"/>
                  </a:lnTo>
                  <a:lnTo>
                    <a:pt x="0" y="386"/>
                  </a:lnTo>
                  <a:lnTo>
                    <a:pt x="1375" y="386"/>
                  </a:lnTo>
                  <a:lnTo>
                    <a:pt x="1018" y="0"/>
                  </a:lnTo>
                  <a:close/>
                </a:path>
              </a:pathLst>
            </a:custGeom>
            <a:gradFill>
              <a:gsLst>
                <a:gs pos="100000">
                  <a:schemeClr val="accent2">
                    <a:alpha val="9000"/>
                  </a:schemeClr>
                </a:gs>
                <a:gs pos="0">
                  <a:schemeClr val="accent1">
                    <a:lumMod val="50000"/>
                    <a:alpha val="3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 name="Freeform 85">
              <a:extLst>
                <a:ext uri="{FF2B5EF4-FFF2-40B4-BE49-F238E27FC236}">
                  <a16:creationId xmlns:a16="http://schemas.microsoft.com/office/drawing/2014/main" id="{B3F331C6-921A-4864-95B0-09CB2A8A37BF}"/>
                </a:ext>
              </a:extLst>
            </p:cNvPr>
            <p:cNvSpPr>
              <a:spLocks/>
            </p:cNvSpPr>
            <p:nvPr userDrawn="1"/>
          </p:nvSpPr>
          <p:spPr bwMode="auto">
            <a:xfrm>
              <a:off x="5997912" y="5449463"/>
              <a:ext cx="233725" cy="695609"/>
            </a:xfrm>
            <a:custGeom>
              <a:avLst/>
              <a:gdLst>
                <a:gd name="T0" fmla="*/ 0 w 84"/>
                <a:gd name="T1" fmla="*/ 0 h 250"/>
                <a:gd name="T2" fmla="*/ 39 w 84"/>
                <a:gd name="T3" fmla="*/ 250 h 250"/>
                <a:gd name="T4" fmla="*/ 84 w 84"/>
                <a:gd name="T5" fmla="*/ 0 h 250"/>
                <a:gd name="T6" fmla="*/ 0 w 84"/>
                <a:gd name="T7" fmla="*/ 0 h 250"/>
              </a:gdLst>
              <a:ahLst/>
              <a:cxnLst>
                <a:cxn ang="0">
                  <a:pos x="T0" y="T1"/>
                </a:cxn>
                <a:cxn ang="0">
                  <a:pos x="T2" y="T3"/>
                </a:cxn>
                <a:cxn ang="0">
                  <a:pos x="T4" y="T5"/>
                </a:cxn>
                <a:cxn ang="0">
                  <a:pos x="T6" y="T7"/>
                </a:cxn>
              </a:cxnLst>
              <a:rect l="0" t="0" r="r" b="b"/>
              <a:pathLst>
                <a:path w="84" h="250">
                  <a:moveTo>
                    <a:pt x="0" y="0"/>
                  </a:moveTo>
                  <a:lnTo>
                    <a:pt x="39" y="250"/>
                  </a:lnTo>
                  <a:lnTo>
                    <a:pt x="84" y="0"/>
                  </a:lnTo>
                  <a:lnTo>
                    <a:pt x="0" y="0"/>
                  </a:lnTo>
                  <a:close/>
                </a:path>
              </a:pathLst>
            </a:custGeom>
            <a:gradFill>
              <a:gsLst>
                <a:gs pos="79000">
                  <a:schemeClr val="accent1">
                    <a:alpha val="8000"/>
                  </a:schemeClr>
                </a:gs>
                <a:gs pos="0">
                  <a:schemeClr val="accent4">
                    <a:alpha val="10000"/>
                  </a:schemeClr>
                </a:gs>
              </a:gsLst>
              <a:lin ang="12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2" name="Oval 106">
              <a:extLst>
                <a:ext uri="{FF2B5EF4-FFF2-40B4-BE49-F238E27FC236}">
                  <a16:creationId xmlns:a16="http://schemas.microsoft.com/office/drawing/2014/main" id="{4D893BAF-4C18-46A4-BF68-F5FC099D41C9}"/>
                </a:ext>
              </a:extLst>
            </p:cNvPr>
            <p:cNvSpPr>
              <a:spLocks noChangeArrowheads="1"/>
            </p:cNvSpPr>
            <p:nvPr userDrawn="1"/>
          </p:nvSpPr>
          <p:spPr bwMode="auto">
            <a:xfrm>
              <a:off x="4822106" y="5354323"/>
              <a:ext cx="2702774" cy="259083"/>
            </a:xfrm>
            <a:prstGeom prst="ellipse">
              <a:avLst/>
            </a:prstGeom>
            <a:solidFill>
              <a:schemeClr val="accent3">
                <a:alpha val="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43" name="Oval 106">
              <a:extLst>
                <a:ext uri="{FF2B5EF4-FFF2-40B4-BE49-F238E27FC236}">
                  <a16:creationId xmlns:a16="http://schemas.microsoft.com/office/drawing/2014/main" id="{0A826EB7-2A88-4689-B751-E81F413FF253}"/>
                </a:ext>
              </a:extLst>
            </p:cNvPr>
            <p:cNvSpPr>
              <a:spLocks noChangeArrowheads="1"/>
            </p:cNvSpPr>
            <p:nvPr userDrawn="1"/>
          </p:nvSpPr>
          <p:spPr bwMode="auto">
            <a:xfrm>
              <a:off x="5008778" y="5348187"/>
              <a:ext cx="2329431" cy="240777"/>
            </a:xfrm>
            <a:prstGeom prst="ellipse">
              <a:avLst/>
            </a:prstGeom>
            <a:solidFill>
              <a:schemeClr val="accent3">
                <a:alpha val="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44" name="Freeform 89">
              <a:extLst>
                <a:ext uri="{FF2B5EF4-FFF2-40B4-BE49-F238E27FC236}">
                  <a16:creationId xmlns:a16="http://schemas.microsoft.com/office/drawing/2014/main" id="{34D84B60-0C00-458F-B376-6781CA0F9B7B}"/>
                </a:ext>
              </a:extLst>
            </p:cNvPr>
            <p:cNvSpPr>
              <a:spLocks/>
            </p:cNvSpPr>
            <p:nvPr userDrawn="1"/>
          </p:nvSpPr>
          <p:spPr bwMode="auto">
            <a:xfrm>
              <a:off x="5712331" y="4540187"/>
              <a:ext cx="157405" cy="197949"/>
            </a:xfrm>
            <a:custGeom>
              <a:avLst/>
              <a:gdLst>
                <a:gd name="T0" fmla="*/ 0 w 66"/>
                <a:gd name="T1" fmla="*/ 0 h 83"/>
                <a:gd name="T2" fmla="*/ 33 w 66"/>
                <a:gd name="T3" fmla="*/ 83 h 83"/>
                <a:gd name="T4" fmla="*/ 66 w 66"/>
                <a:gd name="T5" fmla="*/ 0 h 83"/>
                <a:gd name="T6" fmla="*/ 0 w 66"/>
                <a:gd name="T7" fmla="*/ 0 h 83"/>
              </a:gdLst>
              <a:ahLst/>
              <a:cxnLst>
                <a:cxn ang="0">
                  <a:pos x="T0" y="T1"/>
                </a:cxn>
                <a:cxn ang="0">
                  <a:pos x="T2" y="T3"/>
                </a:cxn>
                <a:cxn ang="0">
                  <a:pos x="T4" y="T5"/>
                </a:cxn>
                <a:cxn ang="0">
                  <a:pos x="T6" y="T7"/>
                </a:cxn>
              </a:cxnLst>
              <a:rect l="0" t="0" r="r" b="b"/>
              <a:pathLst>
                <a:path w="66" h="83">
                  <a:moveTo>
                    <a:pt x="0" y="0"/>
                  </a:moveTo>
                  <a:lnTo>
                    <a:pt x="33" y="83"/>
                  </a:lnTo>
                  <a:lnTo>
                    <a:pt x="66" y="0"/>
                  </a:lnTo>
                  <a:lnTo>
                    <a:pt x="0" y="0"/>
                  </a:lnTo>
                  <a:close/>
                </a:path>
              </a:pathLst>
            </a:custGeom>
            <a:gradFill>
              <a:gsLst>
                <a:gs pos="100000">
                  <a:schemeClr val="accent1"/>
                </a:gs>
                <a:gs pos="0">
                  <a:schemeClr val="accent4"/>
                </a:gs>
                <a:gs pos="42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5" name="Freeform 90">
              <a:extLst>
                <a:ext uri="{FF2B5EF4-FFF2-40B4-BE49-F238E27FC236}">
                  <a16:creationId xmlns:a16="http://schemas.microsoft.com/office/drawing/2014/main" id="{15FDA7CF-4B08-4E24-9632-5FB82B6DC25A}"/>
                </a:ext>
              </a:extLst>
            </p:cNvPr>
            <p:cNvSpPr>
              <a:spLocks/>
            </p:cNvSpPr>
            <p:nvPr userDrawn="1"/>
          </p:nvSpPr>
          <p:spPr bwMode="auto">
            <a:xfrm>
              <a:off x="5750490" y="4540187"/>
              <a:ext cx="159791" cy="197949"/>
            </a:xfrm>
            <a:custGeom>
              <a:avLst/>
              <a:gdLst>
                <a:gd name="T0" fmla="*/ 0 w 67"/>
                <a:gd name="T1" fmla="*/ 0 h 83"/>
                <a:gd name="T2" fmla="*/ 34 w 67"/>
                <a:gd name="T3" fmla="*/ 83 h 83"/>
                <a:gd name="T4" fmla="*/ 67 w 67"/>
                <a:gd name="T5" fmla="*/ 0 h 83"/>
                <a:gd name="T6" fmla="*/ 0 w 67"/>
                <a:gd name="T7" fmla="*/ 0 h 83"/>
              </a:gdLst>
              <a:ahLst/>
              <a:cxnLst>
                <a:cxn ang="0">
                  <a:pos x="T0" y="T1"/>
                </a:cxn>
                <a:cxn ang="0">
                  <a:pos x="T2" y="T3"/>
                </a:cxn>
                <a:cxn ang="0">
                  <a:pos x="T4" y="T5"/>
                </a:cxn>
                <a:cxn ang="0">
                  <a:pos x="T6" y="T7"/>
                </a:cxn>
              </a:cxnLst>
              <a:rect l="0" t="0" r="r" b="b"/>
              <a:pathLst>
                <a:path w="67" h="83">
                  <a:moveTo>
                    <a:pt x="0" y="0"/>
                  </a:moveTo>
                  <a:lnTo>
                    <a:pt x="34" y="83"/>
                  </a:lnTo>
                  <a:lnTo>
                    <a:pt x="67" y="0"/>
                  </a:lnTo>
                  <a:lnTo>
                    <a:pt x="0" y="0"/>
                  </a:lnTo>
                  <a:close/>
                </a:path>
              </a:pathLst>
            </a:custGeom>
            <a:solidFill>
              <a:srgbClr val="1D1438">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6" name="Freeform 91">
              <a:extLst>
                <a:ext uri="{FF2B5EF4-FFF2-40B4-BE49-F238E27FC236}">
                  <a16:creationId xmlns:a16="http://schemas.microsoft.com/office/drawing/2014/main" id="{081FCC28-04EF-42A2-A5BD-186004CED8DA}"/>
                </a:ext>
              </a:extLst>
            </p:cNvPr>
            <p:cNvSpPr>
              <a:spLocks/>
            </p:cNvSpPr>
            <p:nvPr userDrawn="1"/>
          </p:nvSpPr>
          <p:spPr bwMode="auto">
            <a:xfrm>
              <a:off x="5712331" y="4540187"/>
              <a:ext cx="276652" cy="40543"/>
            </a:xfrm>
            <a:custGeom>
              <a:avLst/>
              <a:gdLst>
                <a:gd name="T0" fmla="*/ 0 w 116"/>
                <a:gd name="T1" fmla="*/ 0 h 17"/>
                <a:gd name="T2" fmla="*/ 116 w 116"/>
                <a:gd name="T3" fmla="*/ 17 h 17"/>
                <a:gd name="T4" fmla="*/ 66 w 116"/>
                <a:gd name="T5" fmla="*/ 0 h 17"/>
                <a:gd name="T6" fmla="*/ 0 w 116"/>
                <a:gd name="T7" fmla="*/ 0 h 17"/>
              </a:gdLst>
              <a:ahLst/>
              <a:cxnLst>
                <a:cxn ang="0">
                  <a:pos x="T0" y="T1"/>
                </a:cxn>
                <a:cxn ang="0">
                  <a:pos x="T2" y="T3"/>
                </a:cxn>
                <a:cxn ang="0">
                  <a:pos x="T4" y="T5"/>
                </a:cxn>
                <a:cxn ang="0">
                  <a:pos x="T6" y="T7"/>
                </a:cxn>
              </a:cxnLst>
              <a:rect l="0" t="0" r="r" b="b"/>
              <a:pathLst>
                <a:path w="116" h="17">
                  <a:moveTo>
                    <a:pt x="0" y="0"/>
                  </a:moveTo>
                  <a:lnTo>
                    <a:pt x="116" y="17"/>
                  </a:lnTo>
                  <a:lnTo>
                    <a:pt x="66" y="0"/>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92">
              <a:extLst>
                <a:ext uri="{FF2B5EF4-FFF2-40B4-BE49-F238E27FC236}">
                  <a16:creationId xmlns:a16="http://schemas.microsoft.com/office/drawing/2014/main" id="{7EDB9B09-880E-460A-97DB-4ABFF3B0FE61}"/>
                </a:ext>
              </a:extLst>
            </p:cNvPr>
            <p:cNvSpPr>
              <a:spLocks/>
            </p:cNvSpPr>
            <p:nvPr userDrawn="1"/>
          </p:nvSpPr>
          <p:spPr bwMode="auto">
            <a:xfrm>
              <a:off x="6432581" y="4540187"/>
              <a:ext cx="157405" cy="197949"/>
            </a:xfrm>
            <a:custGeom>
              <a:avLst/>
              <a:gdLst>
                <a:gd name="T0" fmla="*/ 66 w 66"/>
                <a:gd name="T1" fmla="*/ 0 h 83"/>
                <a:gd name="T2" fmla="*/ 33 w 66"/>
                <a:gd name="T3" fmla="*/ 83 h 83"/>
                <a:gd name="T4" fmla="*/ 0 w 66"/>
                <a:gd name="T5" fmla="*/ 0 h 83"/>
                <a:gd name="T6" fmla="*/ 66 w 66"/>
                <a:gd name="T7" fmla="*/ 0 h 83"/>
              </a:gdLst>
              <a:ahLst/>
              <a:cxnLst>
                <a:cxn ang="0">
                  <a:pos x="T0" y="T1"/>
                </a:cxn>
                <a:cxn ang="0">
                  <a:pos x="T2" y="T3"/>
                </a:cxn>
                <a:cxn ang="0">
                  <a:pos x="T4" y="T5"/>
                </a:cxn>
                <a:cxn ang="0">
                  <a:pos x="T6" y="T7"/>
                </a:cxn>
              </a:cxnLst>
              <a:rect l="0" t="0" r="r" b="b"/>
              <a:pathLst>
                <a:path w="66" h="83">
                  <a:moveTo>
                    <a:pt x="66" y="0"/>
                  </a:moveTo>
                  <a:lnTo>
                    <a:pt x="33" y="83"/>
                  </a:lnTo>
                  <a:lnTo>
                    <a:pt x="0" y="0"/>
                  </a:lnTo>
                  <a:lnTo>
                    <a:pt x="66" y="0"/>
                  </a:lnTo>
                  <a:close/>
                </a:path>
              </a:pathLst>
            </a:custGeom>
            <a:gradFill>
              <a:gsLst>
                <a:gs pos="100000">
                  <a:schemeClr val="accent1"/>
                </a:gs>
                <a:gs pos="0">
                  <a:schemeClr val="accent4"/>
                </a:gs>
                <a:gs pos="42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93">
              <a:extLst>
                <a:ext uri="{FF2B5EF4-FFF2-40B4-BE49-F238E27FC236}">
                  <a16:creationId xmlns:a16="http://schemas.microsoft.com/office/drawing/2014/main" id="{6979D8DF-444E-4AC6-9920-BD2C1CA160F2}"/>
                </a:ext>
              </a:extLst>
            </p:cNvPr>
            <p:cNvSpPr>
              <a:spLocks/>
            </p:cNvSpPr>
            <p:nvPr userDrawn="1"/>
          </p:nvSpPr>
          <p:spPr bwMode="auto">
            <a:xfrm>
              <a:off x="6392036" y="4540187"/>
              <a:ext cx="159791" cy="197949"/>
            </a:xfrm>
            <a:custGeom>
              <a:avLst/>
              <a:gdLst>
                <a:gd name="T0" fmla="*/ 67 w 67"/>
                <a:gd name="T1" fmla="*/ 0 h 83"/>
                <a:gd name="T2" fmla="*/ 33 w 67"/>
                <a:gd name="T3" fmla="*/ 83 h 83"/>
                <a:gd name="T4" fmla="*/ 0 w 67"/>
                <a:gd name="T5" fmla="*/ 0 h 83"/>
                <a:gd name="T6" fmla="*/ 67 w 67"/>
                <a:gd name="T7" fmla="*/ 0 h 83"/>
              </a:gdLst>
              <a:ahLst/>
              <a:cxnLst>
                <a:cxn ang="0">
                  <a:pos x="T0" y="T1"/>
                </a:cxn>
                <a:cxn ang="0">
                  <a:pos x="T2" y="T3"/>
                </a:cxn>
                <a:cxn ang="0">
                  <a:pos x="T4" y="T5"/>
                </a:cxn>
                <a:cxn ang="0">
                  <a:pos x="T6" y="T7"/>
                </a:cxn>
              </a:cxnLst>
              <a:rect l="0" t="0" r="r" b="b"/>
              <a:pathLst>
                <a:path w="67" h="83">
                  <a:moveTo>
                    <a:pt x="67" y="0"/>
                  </a:moveTo>
                  <a:lnTo>
                    <a:pt x="33" y="83"/>
                  </a:lnTo>
                  <a:lnTo>
                    <a:pt x="0" y="0"/>
                  </a:lnTo>
                  <a:lnTo>
                    <a:pt x="67" y="0"/>
                  </a:lnTo>
                  <a:close/>
                </a:path>
              </a:pathLst>
            </a:custGeom>
            <a:solidFill>
              <a:srgbClr val="000000">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9" name="Freeform 94">
              <a:extLst>
                <a:ext uri="{FF2B5EF4-FFF2-40B4-BE49-F238E27FC236}">
                  <a16:creationId xmlns:a16="http://schemas.microsoft.com/office/drawing/2014/main" id="{E28E04C7-FFED-4C84-A5E8-47CB8ABB4191}"/>
                </a:ext>
              </a:extLst>
            </p:cNvPr>
            <p:cNvSpPr>
              <a:spLocks/>
            </p:cNvSpPr>
            <p:nvPr userDrawn="1"/>
          </p:nvSpPr>
          <p:spPr bwMode="auto">
            <a:xfrm>
              <a:off x="5201956" y="4115670"/>
              <a:ext cx="1843553" cy="1352255"/>
            </a:xfrm>
            <a:custGeom>
              <a:avLst/>
              <a:gdLst>
                <a:gd name="T0" fmla="*/ 386 w 773"/>
                <a:gd name="T1" fmla="*/ 0 h 567"/>
                <a:gd name="T2" fmla="*/ 0 w 773"/>
                <a:gd name="T3" fmla="*/ 567 h 567"/>
                <a:gd name="T4" fmla="*/ 773 w 773"/>
                <a:gd name="T5" fmla="*/ 567 h 567"/>
                <a:gd name="T6" fmla="*/ 386 w 773"/>
                <a:gd name="T7" fmla="*/ 0 h 567"/>
              </a:gdLst>
              <a:ahLst/>
              <a:cxnLst>
                <a:cxn ang="0">
                  <a:pos x="T0" y="T1"/>
                </a:cxn>
                <a:cxn ang="0">
                  <a:pos x="T2" y="T3"/>
                </a:cxn>
                <a:cxn ang="0">
                  <a:pos x="T4" y="T5"/>
                </a:cxn>
                <a:cxn ang="0">
                  <a:pos x="T6" y="T7"/>
                </a:cxn>
              </a:cxnLst>
              <a:rect l="0" t="0" r="r" b="b"/>
              <a:pathLst>
                <a:path w="773" h="567">
                  <a:moveTo>
                    <a:pt x="386" y="0"/>
                  </a:moveTo>
                  <a:lnTo>
                    <a:pt x="0" y="567"/>
                  </a:lnTo>
                  <a:lnTo>
                    <a:pt x="773" y="567"/>
                  </a:lnTo>
                  <a:lnTo>
                    <a:pt x="386" y="0"/>
                  </a:lnTo>
                  <a:close/>
                </a:path>
              </a:pathLst>
            </a:custGeom>
            <a:gradFill flip="none" rotWithShape="1">
              <a:gsLst>
                <a:gs pos="0">
                  <a:schemeClr val="accent4"/>
                </a:gs>
                <a:gs pos="35000">
                  <a:schemeClr val="accent3"/>
                </a:gs>
                <a:gs pos="100000">
                  <a:schemeClr val="accent1">
                    <a:lumMod val="100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0" name="Freeform 95">
              <a:extLst>
                <a:ext uri="{FF2B5EF4-FFF2-40B4-BE49-F238E27FC236}">
                  <a16:creationId xmlns:a16="http://schemas.microsoft.com/office/drawing/2014/main" id="{3923BC88-2CDB-4A2A-8001-EEF963D67280}"/>
                </a:ext>
              </a:extLst>
            </p:cNvPr>
            <p:cNvSpPr>
              <a:spLocks/>
            </p:cNvSpPr>
            <p:nvPr userDrawn="1"/>
          </p:nvSpPr>
          <p:spPr bwMode="auto">
            <a:xfrm>
              <a:off x="5201956" y="4115670"/>
              <a:ext cx="920584" cy="1352255"/>
            </a:xfrm>
            <a:custGeom>
              <a:avLst/>
              <a:gdLst>
                <a:gd name="T0" fmla="*/ 386 w 386"/>
                <a:gd name="T1" fmla="*/ 0 h 567"/>
                <a:gd name="T2" fmla="*/ 0 w 386"/>
                <a:gd name="T3" fmla="*/ 567 h 567"/>
                <a:gd name="T4" fmla="*/ 336 w 386"/>
                <a:gd name="T5" fmla="*/ 567 h 567"/>
                <a:gd name="T6" fmla="*/ 386 w 386"/>
                <a:gd name="T7" fmla="*/ 245 h 567"/>
                <a:gd name="T8" fmla="*/ 386 w 386"/>
                <a:gd name="T9" fmla="*/ 0 h 567"/>
              </a:gdLst>
              <a:ahLst/>
              <a:cxnLst>
                <a:cxn ang="0">
                  <a:pos x="T0" y="T1"/>
                </a:cxn>
                <a:cxn ang="0">
                  <a:pos x="T2" y="T3"/>
                </a:cxn>
                <a:cxn ang="0">
                  <a:pos x="T4" y="T5"/>
                </a:cxn>
                <a:cxn ang="0">
                  <a:pos x="T6" y="T7"/>
                </a:cxn>
                <a:cxn ang="0">
                  <a:pos x="T8" y="T9"/>
                </a:cxn>
              </a:cxnLst>
              <a:rect l="0" t="0" r="r" b="b"/>
              <a:pathLst>
                <a:path w="386" h="567">
                  <a:moveTo>
                    <a:pt x="386" y="0"/>
                  </a:moveTo>
                  <a:lnTo>
                    <a:pt x="0" y="567"/>
                  </a:lnTo>
                  <a:lnTo>
                    <a:pt x="336" y="567"/>
                  </a:lnTo>
                  <a:lnTo>
                    <a:pt x="386" y="245"/>
                  </a:lnTo>
                  <a:lnTo>
                    <a:pt x="386" y="0"/>
                  </a:lnTo>
                  <a:close/>
                </a:path>
              </a:pathLst>
            </a:custGeom>
            <a:gradFill>
              <a:gsLst>
                <a:gs pos="98000">
                  <a:schemeClr val="accent1"/>
                </a:gs>
                <a:gs pos="40000">
                  <a:schemeClr val="accent3"/>
                </a:gs>
                <a:gs pos="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1" name="Freeform 96">
              <a:extLst>
                <a:ext uri="{FF2B5EF4-FFF2-40B4-BE49-F238E27FC236}">
                  <a16:creationId xmlns:a16="http://schemas.microsoft.com/office/drawing/2014/main" id="{09DAB4D9-A0DD-45CA-B3C5-C82F88EF8ADD}"/>
                </a:ext>
              </a:extLst>
            </p:cNvPr>
            <p:cNvSpPr>
              <a:spLocks/>
            </p:cNvSpPr>
            <p:nvPr userDrawn="1"/>
          </p:nvSpPr>
          <p:spPr bwMode="auto">
            <a:xfrm>
              <a:off x="6122540" y="4115670"/>
              <a:ext cx="922969" cy="1352255"/>
            </a:xfrm>
            <a:custGeom>
              <a:avLst/>
              <a:gdLst>
                <a:gd name="T0" fmla="*/ 0 w 387"/>
                <a:gd name="T1" fmla="*/ 0 h 567"/>
                <a:gd name="T2" fmla="*/ 387 w 387"/>
                <a:gd name="T3" fmla="*/ 567 h 567"/>
                <a:gd name="T4" fmla="*/ 52 w 387"/>
                <a:gd name="T5" fmla="*/ 567 h 567"/>
                <a:gd name="T6" fmla="*/ 0 w 387"/>
                <a:gd name="T7" fmla="*/ 245 h 567"/>
                <a:gd name="T8" fmla="*/ 0 w 387"/>
                <a:gd name="T9" fmla="*/ 0 h 567"/>
              </a:gdLst>
              <a:ahLst/>
              <a:cxnLst>
                <a:cxn ang="0">
                  <a:pos x="T0" y="T1"/>
                </a:cxn>
                <a:cxn ang="0">
                  <a:pos x="T2" y="T3"/>
                </a:cxn>
                <a:cxn ang="0">
                  <a:pos x="T4" y="T5"/>
                </a:cxn>
                <a:cxn ang="0">
                  <a:pos x="T6" y="T7"/>
                </a:cxn>
                <a:cxn ang="0">
                  <a:pos x="T8" y="T9"/>
                </a:cxn>
              </a:cxnLst>
              <a:rect l="0" t="0" r="r" b="b"/>
              <a:pathLst>
                <a:path w="387" h="567">
                  <a:moveTo>
                    <a:pt x="0" y="0"/>
                  </a:moveTo>
                  <a:lnTo>
                    <a:pt x="387" y="567"/>
                  </a:lnTo>
                  <a:lnTo>
                    <a:pt x="52" y="567"/>
                  </a:lnTo>
                  <a:lnTo>
                    <a:pt x="0" y="245"/>
                  </a:lnTo>
                  <a:lnTo>
                    <a:pt x="0" y="0"/>
                  </a:lnTo>
                  <a:close/>
                </a:path>
              </a:pathLst>
            </a:custGeom>
            <a:gradFill>
              <a:gsLst>
                <a:gs pos="98000">
                  <a:schemeClr val="accent1"/>
                </a:gs>
                <a:gs pos="40000">
                  <a:schemeClr val="accent3"/>
                </a:gs>
                <a:gs pos="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52" name="Freeform 97">
              <a:extLst>
                <a:ext uri="{FF2B5EF4-FFF2-40B4-BE49-F238E27FC236}">
                  <a16:creationId xmlns:a16="http://schemas.microsoft.com/office/drawing/2014/main" id="{186A9BCC-2B5C-45BA-94F7-B679CA98EDEF}"/>
                </a:ext>
              </a:extLst>
            </p:cNvPr>
            <p:cNvSpPr>
              <a:spLocks/>
            </p:cNvSpPr>
            <p:nvPr userDrawn="1"/>
          </p:nvSpPr>
          <p:spPr bwMode="auto">
            <a:xfrm>
              <a:off x="5201956" y="4115670"/>
              <a:ext cx="920584" cy="1352255"/>
            </a:xfrm>
            <a:custGeom>
              <a:avLst/>
              <a:gdLst>
                <a:gd name="T0" fmla="*/ 386 w 386"/>
                <a:gd name="T1" fmla="*/ 0 h 567"/>
                <a:gd name="T2" fmla="*/ 0 w 386"/>
                <a:gd name="T3" fmla="*/ 567 h 567"/>
                <a:gd name="T4" fmla="*/ 253 w 386"/>
                <a:gd name="T5" fmla="*/ 567 h 567"/>
                <a:gd name="T6" fmla="*/ 386 w 386"/>
                <a:gd name="T7" fmla="*/ 0 h 567"/>
              </a:gdLst>
              <a:ahLst/>
              <a:cxnLst>
                <a:cxn ang="0">
                  <a:pos x="T0" y="T1"/>
                </a:cxn>
                <a:cxn ang="0">
                  <a:pos x="T2" y="T3"/>
                </a:cxn>
                <a:cxn ang="0">
                  <a:pos x="T4" y="T5"/>
                </a:cxn>
                <a:cxn ang="0">
                  <a:pos x="T6" y="T7"/>
                </a:cxn>
              </a:cxnLst>
              <a:rect l="0" t="0" r="r" b="b"/>
              <a:pathLst>
                <a:path w="386" h="567">
                  <a:moveTo>
                    <a:pt x="386" y="0"/>
                  </a:moveTo>
                  <a:lnTo>
                    <a:pt x="0" y="567"/>
                  </a:lnTo>
                  <a:lnTo>
                    <a:pt x="253" y="567"/>
                  </a:lnTo>
                  <a:lnTo>
                    <a:pt x="386" y="0"/>
                  </a:lnTo>
                  <a:close/>
                </a:path>
              </a:pathLst>
            </a:custGeom>
            <a:gradFill>
              <a:gsLst>
                <a:gs pos="98000">
                  <a:schemeClr val="accent1"/>
                </a:gs>
                <a:gs pos="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3" name="Freeform 98">
              <a:extLst>
                <a:ext uri="{FF2B5EF4-FFF2-40B4-BE49-F238E27FC236}">
                  <a16:creationId xmlns:a16="http://schemas.microsoft.com/office/drawing/2014/main" id="{1F946C16-60D1-45E0-AFFA-4BA2BE006352}"/>
                </a:ext>
              </a:extLst>
            </p:cNvPr>
            <p:cNvSpPr>
              <a:spLocks/>
            </p:cNvSpPr>
            <p:nvPr userDrawn="1"/>
          </p:nvSpPr>
          <p:spPr bwMode="auto">
            <a:xfrm>
              <a:off x="5201956" y="4115670"/>
              <a:ext cx="920584" cy="1352255"/>
            </a:xfrm>
            <a:custGeom>
              <a:avLst/>
              <a:gdLst>
                <a:gd name="T0" fmla="*/ 386 w 386"/>
                <a:gd name="T1" fmla="*/ 0 h 567"/>
                <a:gd name="T2" fmla="*/ 0 w 386"/>
                <a:gd name="T3" fmla="*/ 567 h 567"/>
                <a:gd name="T4" fmla="*/ 17 w 386"/>
                <a:gd name="T5" fmla="*/ 567 h 567"/>
                <a:gd name="T6" fmla="*/ 386 w 386"/>
                <a:gd name="T7" fmla="*/ 0 h 567"/>
              </a:gdLst>
              <a:ahLst/>
              <a:cxnLst>
                <a:cxn ang="0">
                  <a:pos x="T0" y="T1"/>
                </a:cxn>
                <a:cxn ang="0">
                  <a:pos x="T2" y="T3"/>
                </a:cxn>
                <a:cxn ang="0">
                  <a:pos x="T4" y="T5"/>
                </a:cxn>
                <a:cxn ang="0">
                  <a:pos x="T6" y="T7"/>
                </a:cxn>
              </a:cxnLst>
              <a:rect l="0" t="0" r="r" b="b"/>
              <a:pathLst>
                <a:path w="386" h="567">
                  <a:moveTo>
                    <a:pt x="386" y="0"/>
                  </a:moveTo>
                  <a:lnTo>
                    <a:pt x="0" y="567"/>
                  </a:lnTo>
                  <a:lnTo>
                    <a:pt x="17" y="567"/>
                  </a:lnTo>
                  <a:lnTo>
                    <a:pt x="386" y="0"/>
                  </a:lnTo>
                  <a:close/>
                </a:path>
              </a:pathLst>
            </a:custGeom>
            <a:gradFill>
              <a:gsLst>
                <a:gs pos="92000">
                  <a:schemeClr val="accent1"/>
                </a:gs>
                <a:gs pos="2600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4" name="Freeform 99">
              <a:extLst>
                <a:ext uri="{FF2B5EF4-FFF2-40B4-BE49-F238E27FC236}">
                  <a16:creationId xmlns:a16="http://schemas.microsoft.com/office/drawing/2014/main" id="{DB9BB02C-B0F8-42EC-99C3-C341DAD157C4}"/>
                </a:ext>
              </a:extLst>
            </p:cNvPr>
            <p:cNvSpPr>
              <a:spLocks/>
            </p:cNvSpPr>
            <p:nvPr userDrawn="1"/>
          </p:nvSpPr>
          <p:spPr bwMode="auto">
            <a:xfrm>
              <a:off x="6148773" y="4115670"/>
              <a:ext cx="925354" cy="1352255"/>
            </a:xfrm>
            <a:custGeom>
              <a:avLst/>
              <a:gdLst>
                <a:gd name="T0" fmla="*/ 0 w 388"/>
                <a:gd name="T1" fmla="*/ 0 h 567"/>
                <a:gd name="T2" fmla="*/ 388 w 388"/>
                <a:gd name="T3" fmla="*/ 567 h 567"/>
                <a:gd name="T4" fmla="*/ 135 w 388"/>
                <a:gd name="T5" fmla="*/ 567 h 567"/>
                <a:gd name="T6" fmla="*/ 0 w 388"/>
                <a:gd name="T7" fmla="*/ 0 h 567"/>
              </a:gdLst>
              <a:ahLst/>
              <a:cxnLst>
                <a:cxn ang="0">
                  <a:pos x="T0" y="T1"/>
                </a:cxn>
                <a:cxn ang="0">
                  <a:pos x="T2" y="T3"/>
                </a:cxn>
                <a:cxn ang="0">
                  <a:pos x="T4" y="T5"/>
                </a:cxn>
                <a:cxn ang="0">
                  <a:pos x="T6" y="T7"/>
                </a:cxn>
              </a:cxnLst>
              <a:rect l="0" t="0" r="r" b="b"/>
              <a:pathLst>
                <a:path w="388" h="567">
                  <a:moveTo>
                    <a:pt x="0" y="0"/>
                  </a:moveTo>
                  <a:lnTo>
                    <a:pt x="388" y="567"/>
                  </a:lnTo>
                  <a:lnTo>
                    <a:pt x="135" y="567"/>
                  </a:lnTo>
                  <a:lnTo>
                    <a:pt x="0" y="0"/>
                  </a:lnTo>
                  <a:close/>
                </a:path>
              </a:pathLst>
            </a:custGeom>
            <a:gradFill>
              <a:gsLst>
                <a:gs pos="98000">
                  <a:schemeClr val="accent1"/>
                </a:gs>
                <a:gs pos="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5" name="Freeform 100">
              <a:extLst>
                <a:ext uri="{FF2B5EF4-FFF2-40B4-BE49-F238E27FC236}">
                  <a16:creationId xmlns:a16="http://schemas.microsoft.com/office/drawing/2014/main" id="{692C123C-7296-4716-A4FB-510EC4533519}"/>
                </a:ext>
              </a:extLst>
            </p:cNvPr>
            <p:cNvSpPr>
              <a:spLocks/>
            </p:cNvSpPr>
            <p:nvPr userDrawn="1"/>
          </p:nvSpPr>
          <p:spPr bwMode="auto">
            <a:xfrm>
              <a:off x="6146391" y="4112199"/>
              <a:ext cx="925354" cy="1352255"/>
            </a:xfrm>
            <a:custGeom>
              <a:avLst/>
              <a:gdLst>
                <a:gd name="T0" fmla="*/ 0 w 388"/>
                <a:gd name="T1" fmla="*/ 0 h 567"/>
                <a:gd name="T2" fmla="*/ 388 w 388"/>
                <a:gd name="T3" fmla="*/ 567 h 567"/>
                <a:gd name="T4" fmla="*/ 0 w 388"/>
                <a:gd name="T5" fmla="*/ 567 h 567"/>
                <a:gd name="T6" fmla="*/ 0 w 388"/>
                <a:gd name="T7" fmla="*/ 0 h 567"/>
              </a:gdLst>
              <a:ahLst/>
              <a:cxnLst>
                <a:cxn ang="0">
                  <a:pos x="T0" y="T1"/>
                </a:cxn>
                <a:cxn ang="0">
                  <a:pos x="T2" y="T3"/>
                </a:cxn>
                <a:cxn ang="0">
                  <a:pos x="T4" y="T5"/>
                </a:cxn>
                <a:cxn ang="0">
                  <a:pos x="T6" y="T7"/>
                </a:cxn>
              </a:cxnLst>
              <a:rect l="0" t="0" r="r" b="b"/>
              <a:pathLst>
                <a:path w="388" h="567">
                  <a:moveTo>
                    <a:pt x="0" y="0"/>
                  </a:moveTo>
                  <a:lnTo>
                    <a:pt x="388" y="567"/>
                  </a:lnTo>
                  <a:lnTo>
                    <a:pt x="0" y="567"/>
                  </a:lnTo>
                  <a:lnTo>
                    <a:pt x="0" y="0"/>
                  </a:lnTo>
                  <a:close/>
                </a:path>
              </a:pathLst>
            </a:custGeom>
            <a:solidFill>
              <a:srgbClr val="1D1438">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6" name="Rectangle 101">
              <a:extLst>
                <a:ext uri="{FF2B5EF4-FFF2-40B4-BE49-F238E27FC236}">
                  <a16:creationId xmlns:a16="http://schemas.microsoft.com/office/drawing/2014/main" id="{4AC3E4A7-952A-4FE5-8EB2-64760798E45E}"/>
                </a:ext>
              </a:extLst>
            </p:cNvPr>
            <p:cNvSpPr>
              <a:spLocks noChangeArrowheads="1"/>
            </p:cNvSpPr>
            <p:nvPr userDrawn="1"/>
          </p:nvSpPr>
          <p:spPr bwMode="auto">
            <a:xfrm>
              <a:off x="5163797" y="5355833"/>
              <a:ext cx="38159" cy="112091"/>
            </a:xfrm>
            <a:prstGeom prst="rect">
              <a:avLst/>
            </a:prstGeom>
            <a:gradFill>
              <a:gsLst>
                <a:gs pos="95000">
                  <a:schemeClr val="accent1"/>
                </a:gs>
                <a:gs pos="20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7" name="Rectangle 102">
              <a:extLst>
                <a:ext uri="{FF2B5EF4-FFF2-40B4-BE49-F238E27FC236}">
                  <a16:creationId xmlns:a16="http://schemas.microsoft.com/office/drawing/2014/main" id="{96610526-E9EA-4833-9999-17F749B085D5}"/>
                </a:ext>
              </a:extLst>
            </p:cNvPr>
            <p:cNvSpPr>
              <a:spLocks noChangeArrowheads="1"/>
            </p:cNvSpPr>
            <p:nvPr userDrawn="1"/>
          </p:nvSpPr>
          <p:spPr bwMode="auto">
            <a:xfrm>
              <a:off x="7074127" y="5355833"/>
              <a:ext cx="38159" cy="112091"/>
            </a:xfrm>
            <a:prstGeom prst="rect">
              <a:avLst/>
            </a:prstGeom>
            <a:gradFill>
              <a:gsLst>
                <a:gs pos="95000">
                  <a:schemeClr val="accent1"/>
                </a:gs>
                <a:gs pos="20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20" name="标题 1"/>
          <p:cNvSpPr>
            <a:spLocks noGrp="1"/>
          </p:cNvSpPr>
          <p:nvPr userDrawn="1">
            <p:ph type="title"/>
          </p:nvPr>
        </p:nvSpPr>
        <p:spPr>
          <a:xfrm>
            <a:off x="5340351" y="1699172"/>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341467" y="2594522"/>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4/6/15</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4/6/15</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5B29D727-286A-42EA-86D8-2C9000D0CCBE}"/>
              </a:ext>
            </a:extLst>
          </p:cNvPr>
          <p:cNvGrpSpPr/>
          <p:nvPr userDrawn="1"/>
        </p:nvGrpSpPr>
        <p:grpSpPr>
          <a:xfrm flipH="1">
            <a:off x="-2" y="-6350"/>
            <a:ext cx="12192004" cy="6904451"/>
            <a:chOff x="-2" y="-6350"/>
            <a:chExt cx="12192004" cy="6904451"/>
          </a:xfrm>
        </p:grpSpPr>
        <p:sp>
          <p:nvSpPr>
            <p:cNvPr id="7" name="矩形 6">
              <a:extLst>
                <a:ext uri="{FF2B5EF4-FFF2-40B4-BE49-F238E27FC236}">
                  <a16:creationId xmlns:a16="http://schemas.microsoft.com/office/drawing/2014/main" id="{5D0466F8-E083-4AE9-9E1B-33920667616A}"/>
                </a:ext>
              </a:extLst>
            </p:cNvPr>
            <p:cNvSpPr/>
            <p:nvPr userDrawn="1"/>
          </p:nvSpPr>
          <p:spPr>
            <a:xfrm>
              <a:off x="-1" y="4686301"/>
              <a:ext cx="12192000" cy="2171700"/>
            </a:xfrm>
            <a:prstGeom prst="rect">
              <a:avLst/>
            </a:prstGeom>
            <a:gradFill>
              <a:gsLst>
                <a:gs pos="100000">
                  <a:schemeClr val="accent2"/>
                </a:gs>
                <a:gs pos="0">
                  <a:schemeClr val="accent3"/>
                </a:gs>
                <a:gs pos="42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7E522F18-4EC0-4A24-AA1B-2103E403D3B4}"/>
                </a:ext>
              </a:extLst>
            </p:cNvPr>
            <p:cNvSpPr/>
            <p:nvPr userDrawn="1"/>
          </p:nvSpPr>
          <p:spPr>
            <a:xfrm>
              <a:off x="0" y="0"/>
              <a:ext cx="12192000" cy="4686301"/>
            </a:xfrm>
            <a:prstGeom prst="rect">
              <a:avLst/>
            </a:prstGeom>
            <a:gradFill>
              <a:gsLst>
                <a:gs pos="0">
                  <a:schemeClr val="accent1"/>
                </a:gs>
                <a:gs pos="43000">
                  <a:schemeClr val="accent3"/>
                </a:gs>
                <a:gs pos="100000">
                  <a:schemeClr val="accent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AutoShape 29">
              <a:extLst>
                <a:ext uri="{FF2B5EF4-FFF2-40B4-BE49-F238E27FC236}">
                  <a16:creationId xmlns:a16="http://schemas.microsoft.com/office/drawing/2014/main" id="{A281EF9D-7E78-421B-97D4-FCDFFBFE84BE}"/>
                </a:ext>
              </a:extLst>
            </p:cNvPr>
            <p:cNvSpPr>
              <a:spLocks noChangeAspect="1" noChangeArrowheads="1" noTextEdit="1"/>
            </p:cNvSpPr>
            <p:nvPr userDrawn="1"/>
          </p:nvSpPr>
          <p:spPr bwMode="auto">
            <a:xfrm>
              <a:off x="2122488" y="841375"/>
              <a:ext cx="3905250" cy="207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10" name="直接连接符 9">
              <a:extLst>
                <a:ext uri="{FF2B5EF4-FFF2-40B4-BE49-F238E27FC236}">
                  <a16:creationId xmlns:a16="http://schemas.microsoft.com/office/drawing/2014/main" id="{F9F504A0-181B-4382-95DC-52313356FF40}"/>
                </a:ext>
              </a:extLst>
            </p:cNvPr>
            <p:cNvCxnSpPr>
              <a:cxnSpLocks/>
            </p:cNvCxnSpPr>
            <p:nvPr userDrawn="1"/>
          </p:nvCxnSpPr>
          <p:spPr>
            <a:xfrm>
              <a:off x="2797176" y="1077318"/>
              <a:ext cx="3367088" cy="1574135"/>
            </a:xfrm>
            <a:prstGeom prst="line">
              <a:avLst/>
            </a:prstGeom>
            <a:ln w="38100" cap="rnd">
              <a:gradFill>
                <a:gsLst>
                  <a:gs pos="47000">
                    <a:srgbClr val="CF6E7A">
                      <a:alpha val="34000"/>
                    </a:srgbClr>
                  </a:gs>
                  <a:gs pos="0">
                    <a:schemeClr val="accent4"/>
                  </a:gs>
                  <a:gs pos="100000">
                    <a:schemeClr val="accent3">
                      <a:alpha val="4700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1" name="Freeform 6">
              <a:extLst>
                <a:ext uri="{FF2B5EF4-FFF2-40B4-BE49-F238E27FC236}">
                  <a16:creationId xmlns:a16="http://schemas.microsoft.com/office/drawing/2014/main" id="{60D61A44-D5DF-48C0-B3DE-DCD9A397E97D}"/>
                </a:ext>
              </a:extLst>
            </p:cNvPr>
            <p:cNvSpPr>
              <a:spLocks/>
            </p:cNvSpPr>
            <p:nvPr userDrawn="1"/>
          </p:nvSpPr>
          <p:spPr bwMode="auto">
            <a:xfrm>
              <a:off x="0" y="3981450"/>
              <a:ext cx="9175750" cy="706438"/>
            </a:xfrm>
            <a:custGeom>
              <a:avLst/>
              <a:gdLst>
                <a:gd name="T0" fmla="*/ 1379 w 5780"/>
                <a:gd name="T1" fmla="*/ 0 h 445"/>
                <a:gd name="T2" fmla="*/ 0 w 5780"/>
                <a:gd name="T3" fmla="*/ 68 h 445"/>
                <a:gd name="T4" fmla="*/ 0 w 5780"/>
                <a:gd name="T5" fmla="*/ 445 h 445"/>
                <a:gd name="T6" fmla="*/ 5780 w 5780"/>
                <a:gd name="T7" fmla="*/ 445 h 445"/>
                <a:gd name="T8" fmla="*/ 2480 w 5780"/>
                <a:gd name="T9" fmla="*/ 123 h 445"/>
                <a:gd name="T10" fmla="*/ 1379 w 5780"/>
                <a:gd name="T11" fmla="*/ 0 h 445"/>
              </a:gdLst>
              <a:ahLst/>
              <a:cxnLst>
                <a:cxn ang="0">
                  <a:pos x="T0" y="T1"/>
                </a:cxn>
                <a:cxn ang="0">
                  <a:pos x="T2" y="T3"/>
                </a:cxn>
                <a:cxn ang="0">
                  <a:pos x="T4" y="T5"/>
                </a:cxn>
                <a:cxn ang="0">
                  <a:pos x="T6" y="T7"/>
                </a:cxn>
                <a:cxn ang="0">
                  <a:pos x="T8" y="T9"/>
                </a:cxn>
                <a:cxn ang="0">
                  <a:pos x="T10" y="T11"/>
                </a:cxn>
              </a:cxnLst>
              <a:rect l="0" t="0" r="r" b="b"/>
              <a:pathLst>
                <a:path w="5780" h="445">
                  <a:moveTo>
                    <a:pt x="1379" y="0"/>
                  </a:moveTo>
                  <a:lnTo>
                    <a:pt x="0" y="68"/>
                  </a:lnTo>
                  <a:lnTo>
                    <a:pt x="0" y="445"/>
                  </a:lnTo>
                  <a:lnTo>
                    <a:pt x="5780" y="445"/>
                  </a:lnTo>
                  <a:lnTo>
                    <a:pt x="2480" y="123"/>
                  </a:lnTo>
                  <a:lnTo>
                    <a:pt x="1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Freeform 8">
              <a:extLst>
                <a:ext uri="{FF2B5EF4-FFF2-40B4-BE49-F238E27FC236}">
                  <a16:creationId xmlns:a16="http://schemas.microsoft.com/office/drawing/2014/main" id="{D6DE842E-D057-47D2-956B-BC9312A3D618}"/>
                </a:ext>
              </a:extLst>
            </p:cNvPr>
            <p:cNvSpPr>
              <a:spLocks/>
            </p:cNvSpPr>
            <p:nvPr userDrawn="1"/>
          </p:nvSpPr>
          <p:spPr bwMode="auto">
            <a:xfrm>
              <a:off x="0" y="2717800"/>
              <a:ext cx="7348538" cy="449263"/>
            </a:xfrm>
            <a:custGeom>
              <a:avLst/>
              <a:gdLst>
                <a:gd name="T0" fmla="*/ 2259 w 4629"/>
                <a:gd name="T1" fmla="*/ 148 h 283"/>
                <a:gd name="T2" fmla="*/ 1980 w 4629"/>
                <a:gd name="T3" fmla="*/ 63 h 283"/>
                <a:gd name="T4" fmla="*/ 0 w 4629"/>
                <a:gd name="T5" fmla="*/ 0 h 283"/>
                <a:gd name="T6" fmla="*/ 0 w 4629"/>
                <a:gd name="T7" fmla="*/ 283 h 283"/>
                <a:gd name="T8" fmla="*/ 1743 w 4629"/>
                <a:gd name="T9" fmla="*/ 186 h 283"/>
                <a:gd name="T10" fmla="*/ 2001 w 4629"/>
                <a:gd name="T11" fmla="*/ 250 h 283"/>
                <a:gd name="T12" fmla="*/ 4629 w 4629"/>
                <a:gd name="T13" fmla="*/ 250 h 283"/>
                <a:gd name="T14" fmla="*/ 2259 w 4629"/>
                <a:gd name="T15" fmla="*/ 148 h 2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29" h="283">
                  <a:moveTo>
                    <a:pt x="2259" y="148"/>
                  </a:moveTo>
                  <a:lnTo>
                    <a:pt x="1980" y="63"/>
                  </a:lnTo>
                  <a:lnTo>
                    <a:pt x="0" y="0"/>
                  </a:lnTo>
                  <a:lnTo>
                    <a:pt x="0" y="283"/>
                  </a:lnTo>
                  <a:lnTo>
                    <a:pt x="1743" y="186"/>
                  </a:lnTo>
                  <a:lnTo>
                    <a:pt x="2001" y="250"/>
                  </a:lnTo>
                  <a:lnTo>
                    <a:pt x="4629" y="250"/>
                  </a:lnTo>
                  <a:lnTo>
                    <a:pt x="2259" y="148"/>
                  </a:ln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9">
              <a:extLst>
                <a:ext uri="{FF2B5EF4-FFF2-40B4-BE49-F238E27FC236}">
                  <a16:creationId xmlns:a16="http://schemas.microsoft.com/office/drawing/2014/main" id="{79EBB73D-1A1B-4105-B6A8-E2098A24B624}"/>
                </a:ext>
              </a:extLst>
            </p:cNvPr>
            <p:cNvSpPr>
              <a:spLocks/>
            </p:cNvSpPr>
            <p:nvPr userDrawn="1"/>
          </p:nvSpPr>
          <p:spPr bwMode="auto">
            <a:xfrm>
              <a:off x="5481638" y="3208338"/>
              <a:ext cx="6704013" cy="517525"/>
            </a:xfrm>
            <a:custGeom>
              <a:avLst/>
              <a:gdLst>
                <a:gd name="T0" fmla="*/ 1460 w 4223"/>
                <a:gd name="T1" fmla="*/ 199 h 326"/>
                <a:gd name="T2" fmla="*/ 0 w 4223"/>
                <a:gd name="T3" fmla="*/ 301 h 326"/>
                <a:gd name="T4" fmla="*/ 1739 w 4223"/>
                <a:gd name="T5" fmla="*/ 326 h 326"/>
                <a:gd name="T6" fmla="*/ 3097 w 4223"/>
                <a:gd name="T7" fmla="*/ 199 h 326"/>
                <a:gd name="T8" fmla="*/ 4223 w 4223"/>
                <a:gd name="T9" fmla="*/ 254 h 326"/>
                <a:gd name="T10" fmla="*/ 4223 w 4223"/>
                <a:gd name="T11" fmla="*/ 0 h 326"/>
                <a:gd name="T12" fmla="*/ 1460 w 4223"/>
                <a:gd name="T13" fmla="*/ 199 h 326"/>
              </a:gdLst>
              <a:ahLst/>
              <a:cxnLst>
                <a:cxn ang="0">
                  <a:pos x="T0" y="T1"/>
                </a:cxn>
                <a:cxn ang="0">
                  <a:pos x="T2" y="T3"/>
                </a:cxn>
                <a:cxn ang="0">
                  <a:pos x="T4" y="T5"/>
                </a:cxn>
                <a:cxn ang="0">
                  <a:pos x="T6" y="T7"/>
                </a:cxn>
                <a:cxn ang="0">
                  <a:pos x="T8" y="T9"/>
                </a:cxn>
                <a:cxn ang="0">
                  <a:pos x="T10" y="T11"/>
                </a:cxn>
                <a:cxn ang="0">
                  <a:pos x="T12" y="T13"/>
                </a:cxn>
              </a:cxnLst>
              <a:rect l="0" t="0" r="r" b="b"/>
              <a:pathLst>
                <a:path w="4223" h="326">
                  <a:moveTo>
                    <a:pt x="1460" y="199"/>
                  </a:moveTo>
                  <a:lnTo>
                    <a:pt x="0" y="301"/>
                  </a:lnTo>
                  <a:lnTo>
                    <a:pt x="1739" y="326"/>
                  </a:lnTo>
                  <a:lnTo>
                    <a:pt x="3097" y="199"/>
                  </a:lnTo>
                  <a:lnTo>
                    <a:pt x="4223" y="254"/>
                  </a:lnTo>
                  <a:lnTo>
                    <a:pt x="4223" y="0"/>
                  </a:lnTo>
                  <a:lnTo>
                    <a:pt x="1460" y="199"/>
                  </a:ln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0">
              <a:extLst>
                <a:ext uri="{FF2B5EF4-FFF2-40B4-BE49-F238E27FC236}">
                  <a16:creationId xmlns:a16="http://schemas.microsoft.com/office/drawing/2014/main" id="{245F5BB7-487B-46E4-B03C-8B40E7F97959}"/>
                </a:ext>
              </a:extLst>
            </p:cNvPr>
            <p:cNvSpPr>
              <a:spLocks/>
            </p:cNvSpPr>
            <p:nvPr userDrawn="1"/>
          </p:nvSpPr>
          <p:spPr bwMode="auto">
            <a:xfrm>
              <a:off x="9578975" y="673100"/>
              <a:ext cx="87313" cy="66675"/>
            </a:xfrm>
            <a:custGeom>
              <a:avLst/>
              <a:gdLst>
                <a:gd name="T0" fmla="*/ 7 w 13"/>
                <a:gd name="T1" fmla="*/ 0 h 10"/>
                <a:gd name="T2" fmla="*/ 7 w 13"/>
                <a:gd name="T3" fmla="*/ 10 h 10"/>
                <a:gd name="T4" fmla="*/ 7 w 13"/>
                <a:gd name="T5" fmla="*/ 0 h 10"/>
              </a:gdLst>
              <a:ahLst/>
              <a:cxnLst>
                <a:cxn ang="0">
                  <a:pos x="T0" y="T1"/>
                </a:cxn>
                <a:cxn ang="0">
                  <a:pos x="T2" y="T3"/>
                </a:cxn>
                <a:cxn ang="0">
                  <a:pos x="T4" y="T5"/>
                </a:cxn>
              </a:cxnLst>
              <a:rect l="0" t="0" r="r" b="b"/>
              <a:pathLst>
                <a:path w="13" h="10">
                  <a:moveTo>
                    <a:pt x="7" y="0"/>
                  </a:moveTo>
                  <a:cubicBezTo>
                    <a:pt x="0" y="0"/>
                    <a:pt x="0" y="10"/>
                    <a:pt x="7" y="10"/>
                  </a:cubicBezTo>
                  <a:cubicBezTo>
                    <a:pt x="13" y="10"/>
                    <a:pt x="13" y="0"/>
                    <a:pt x="7"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1">
              <a:extLst>
                <a:ext uri="{FF2B5EF4-FFF2-40B4-BE49-F238E27FC236}">
                  <a16:creationId xmlns:a16="http://schemas.microsoft.com/office/drawing/2014/main" id="{7C2493CC-59A2-40EE-AF6C-9AD6086BF756}"/>
                </a:ext>
              </a:extLst>
            </p:cNvPr>
            <p:cNvSpPr>
              <a:spLocks/>
            </p:cNvSpPr>
            <p:nvPr userDrawn="1"/>
          </p:nvSpPr>
          <p:spPr bwMode="auto">
            <a:xfrm>
              <a:off x="5259388" y="550863"/>
              <a:ext cx="80963" cy="60325"/>
            </a:xfrm>
            <a:custGeom>
              <a:avLst/>
              <a:gdLst>
                <a:gd name="T0" fmla="*/ 6 w 12"/>
                <a:gd name="T1" fmla="*/ 0 h 9"/>
                <a:gd name="T2" fmla="*/ 6 w 12"/>
                <a:gd name="T3" fmla="*/ 9 h 9"/>
                <a:gd name="T4" fmla="*/ 6 w 12"/>
                <a:gd name="T5" fmla="*/ 0 h 9"/>
              </a:gdLst>
              <a:ahLst/>
              <a:cxnLst>
                <a:cxn ang="0">
                  <a:pos x="T0" y="T1"/>
                </a:cxn>
                <a:cxn ang="0">
                  <a:pos x="T2" y="T3"/>
                </a:cxn>
                <a:cxn ang="0">
                  <a:pos x="T4" y="T5"/>
                </a:cxn>
              </a:cxnLst>
              <a:rect l="0" t="0" r="r" b="b"/>
              <a:pathLst>
                <a:path w="12" h="9">
                  <a:moveTo>
                    <a:pt x="6" y="0"/>
                  </a:moveTo>
                  <a:cubicBezTo>
                    <a:pt x="0" y="0"/>
                    <a:pt x="0" y="9"/>
                    <a:pt x="6" y="9"/>
                  </a:cubicBezTo>
                  <a:cubicBezTo>
                    <a:pt x="12" y="9"/>
                    <a:pt x="12" y="0"/>
                    <a:pt x="6"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12">
              <a:extLst>
                <a:ext uri="{FF2B5EF4-FFF2-40B4-BE49-F238E27FC236}">
                  <a16:creationId xmlns:a16="http://schemas.microsoft.com/office/drawing/2014/main" id="{668D6FF6-67C8-4A3F-BAD6-2A68A90690BB}"/>
                </a:ext>
              </a:extLst>
            </p:cNvPr>
            <p:cNvSpPr>
              <a:spLocks/>
            </p:cNvSpPr>
            <p:nvPr userDrawn="1"/>
          </p:nvSpPr>
          <p:spPr bwMode="auto">
            <a:xfrm>
              <a:off x="10996613" y="1614488"/>
              <a:ext cx="80963" cy="60325"/>
            </a:xfrm>
            <a:custGeom>
              <a:avLst/>
              <a:gdLst>
                <a:gd name="T0" fmla="*/ 6 w 12"/>
                <a:gd name="T1" fmla="*/ 0 h 9"/>
                <a:gd name="T2" fmla="*/ 6 w 12"/>
                <a:gd name="T3" fmla="*/ 9 h 9"/>
                <a:gd name="T4" fmla="*/ 6 w 12"/>
                <a:gd name="T5" fmla="*/ 0 h 9"/>
              </a:gdLst>
              <a:ahLst/>
              <a:cxnLst>
                <a:cxn ang="0">
                  <a:pos x="T0" y="T1"/>
                </a:cxn>
                <a:cxn ang="0">
                  <a:pos x="T2" y="T3"/>
                </a:cxn>
                <a:cxn ang="0">
                  <a:pos x="T4" y="T5"/>
                </a:cxn>
              </a:cxnLst>
              <a:rect l="0" t="0" r="r" b="b"/>
              <a:pathLst>
                <a:path w="12" h="9">
                  <a:moveTo>
                    <a:pt x="6" y="0"/>
                  </a:moveTo>
                  <a:cubicBezTo>
                    <a:pt x="0" y="0"/>
                    <a:pt x="0" y="9"/>
                    <a:pt x="6" y="9"/>
                  </a:cubicBezTo>
                  <a:cubicBezTo>
                    <a:pt x="12" y="9"/>
                    <a:pt x="12" y="0"/>
                    <a:pt x="6"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13">
              <a:extLst>
                <a:ext uri="{FF2B5EF4-FFF2-40B4-BE49-F238E27FC236}">
                  <a16:creationId xmlns:a16="http://schemas.microsoft.com/office/drawing/2014/main" id="{8F15D9DD-A1C7-4279-B180-53683DAEF61E}"/>
                </a:ext>
              </a:extLst>
            </p:cNvPr>
            <p:cNvSpPr>
              <a:spLocks/>
            </p:cNvSpPr>
            <p:nvPr userDrawn="1"/>
          </p:nvSpPr>
          <p:spPr bwMode="auto">
            <a:xfrm>
              <a:off x="8053388" y="531813"/>
              <a:ext cx="53975" cy="33338"/>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14">
              <a:extLst>
                <a:ext uri="{FF2B5EF4-FFF2-40B4-BE49-F238E27FC236}">
                  <a16:creationId xmlns:a16="http://schemas.microsoft.com/office/drawing/2014/main" id="{6EE186DE-4119-41CF-BB2B-8D494D1EBF82}"/>
                </a:ext>
              </a:extLst>
            </p:cNvPr>
            <p:cNvSpPr>
              <a:spLocks/>
            </p:cNvSpPr>
            <p:nvPr userDrawn="1"/>
          </p:nvSpPr>
          <p:spPr bwMode="auto">
            <a:xfrm>
              <a:off x="4103688" y="-6350"/>
              <a:ext cx="53975" cy="39688"/>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15">
              <a:extLst>
                <a:ext uri="{FF2B5EF4-FFF2-40B4-BE49-F238E27FC236}">
                  <a16:creationId xmlns:a16="http://schemas.microsoft.com/office/drawing/2014/main" id="{7DA142AE-1538-42F1-A63D-8FB459A4601D}"/>
                </a:ext>
              </a:extLst>
            </p:cNvPr>
            <p:cNvSpPr>
              <a:spLocks/>
            </p:cNvSpPr>
            <p:nvPr userDrawn="1"/>
          </p:nvSpPr>
          <p:spPr bwMode="auto">
            <a:xfrm>
              <a:off x="839788" y="1062038"/>
              <a:ext cx="53975" cy="41275"/>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rgbClr val="AE53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16">
              <a:extLst>
                <a:ext uri="{FF2B5EF4-FFF2-40B4-BE49-F238E27FC236}">
                  <a16:creationId xmlns:a16="http://schemas.microsoft.com/office/drawing/2014/main" id="{87C70E1C-3F1D-44BE-9027-D3550B30FD5A}"/>
                </a:ext>
              </a:extLst>
            </p:cNvPr>
            <p:cNvSpPr>
              <a:spLocks/>
            </p:cNvSpPr>
            <p:nvPr userDrawn="1"/>
          </p:nvSpPr>
          <p:spPr bwMode="auto">
            <a:xfrm>
              <a:off x="11418888" y="322263"/>
              <a:ext cx="47625" cy="41275"/>
            </a:xfrm>
            <a:custGeom>
              <a:avLst/>
              <a:gdLst>
                <a:gd name="T0" fmla="*/ 4 w 7"/>
                <a:gd name="T1" fmla="*/ 0 h 6"/>
                <a:gd name="T2" fmla="*/ 4 w 7"/>
                <a:gd name="T3" fmla="*/ 6 h 6"/>
                <a:gd name="T4" fmla="*/ 4 w 7"/>
                <a:gd name="T5" fmla="*/ 0 h 6"/>
              </a:gdLst>
              <a:ahLst/>
              <a:cxnLst>
                <a:cxn ang="0">
                  <a:pos x="T0" y="T1"/>
                </a:cxn>
                <a:cxn ang="0">
                  <a:pos x="T2" y="T3"/>
                </a:cxn>
                <a:cxn ang="0">
                  <a:pos x="T4" y="T5"/>
                </a:cxn>
              </a:cxnLst>
              <a:rect l="0" t="0" r="r" b="b"/>
              <a:pathLst>
                <a:path w="7" h="6">
                  <a:moveTo>
                    <a:pt x="4" y="0"/>
                  </a:moveTo>
                  <a:cubicBezTo>
                    <a:pt x="0" y="0"/>
                    <a:pt x="0" y="6"/>
                    <a:pt x="4" y="6"/>
                  </a:cubicBezTo>
                  <a:cubicBezTo>
                    <a:pt x="7" y="6"/>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7">
              <a:extLst>
                <a:ext uri="{FF2B5EF4-FFF2-40B4-BE49-F238E27FC236}">
                  <a16:creationId xmlns:a16="http://schemas.microsoft.com/office/drawing/2014/main" id="{2142D9AA-D9CE-4D44-B199-13AE86B0300E}"/>
                </a:ext>
              </a:extLst>
            </p:cNvPr>
            <p:cNvSpPr>
              <a:spLocks/>
            </p:cNvSpPr>
            <p:nvPr userDrawn="1"/>
          </p:nvSpPr>
          <p:spPr bwMode="auto">
            <a:xfrm>
              <a:off x="8766175" y="1801813"/>
              <a:ext cx="53975" cy="34925"/>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rgbClr val="AE53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18">
              <a:extLst>
                <a:ext uri="{FF2B5EF4-FFF2-40B4-BE49-F238E27FC236}">
                  <a16:creationId xmlns:a16="http://schemas.microsoft.com/office/drawing/2014/main" id="{CE5A9E83-0E01-4943-99A4-FDD581D49D5D}"/>
                </a:ext>
              </a:extLst>
            </p:cNvPr>
            <p:cNvSpPr>
              <a:spLocks/>
            </p:cNvSpPr>
            <p:nvPr userDrawn="1"/>
          </p:nvSpPr>
          <p:spPr bwMode="auto">
            <a:xfrm>
              <a:off x="9807575" y="2724150"/>
              <a:ext cx="53975" cy="39688"/>
            </a:xfrm>
            <a:custGeom>
              <a:avLst/>
              <a:gdLst>
                <a:gd name="T0" fmla="*/ 4 w 8"/>
                <a:gd name="T1" fmla="*/ 0 h 6"/>
                <a:gd name="T2" fmla="*/ 4 w 8"/>
                <a:gd name="T3" fmla="*/ 6 h 6"/>
                <a:gd name="T4" fmla="*/ 4 w 8"/>
                <a:gd name="T5" fmla="*/ 0 h 6"/>
              </a:gdLst>
              <a:ahLst/>
              <a:cxnLst>
                <a:cxn ang="0">
                  <a:pos x="T0" y="T1"/>
                </a:cxn>
                <a:cxn ang="0">
                  <a:pos x="T2" y="T3"/>
                </a:cxn>
                <a:cxn ang="0">
                  <a:pos x="T4" y="T5"/>
                </a:cxn>
              </a:cxnLst>
              <a:rect l="0" t="0" r="r" b="b"/>
              <a:pathLst>
                <a:path w="8" h="6">
                  <a:moveTo>
                    <a:pt x="4" y="0"/>
                  </a:moveTo>
                  <a:cubicBezTo>
                    <a:pt x="0" y="0"/>
                    <a:pt x="0" y="6"/>
                    <a:pt x="4" y="6"/>
                  </a:cubicBezTo>
                  <a:cubicBezTo>
                    <a:pt x="8" y="6"/>
                    <a:pt x="8"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19">
              <a:extLst>
                <a:ext uri="{FF2B5EF4-FFF2-40B4-BE49-F238E27FC236}">
                  <a16:creationId xmlns:a16="http://schemas.microsoft.com/office/drawing/2014/main" id="{40281CC2-F47A-4F5E-9739-FE00BC64CE78}"/>
                </a:ext>
              </a:extLst>
            </p:cNvPr>
            <p:cNvSpPr>
              <a:spLocks/>
            </p:cNvSpPr>
            <p:nvPr userDrawn="1"/>
          </p:nvSpPr>
          <p:spPr bwMode="auto">
            <a:xfrm>
              <a:off x="2222500" y="2709863"/>
              <a:ext cx="47625" cy="41275"/>
            </a:xfrm>
            <a:custGeom>
              <a:avLst/>
              <a:gdLst>
                <a:gd name="T0" fmla="*/ 3 w 7"/>
                <a:gd name="T1" fmla="*/ 0 h 6"/>
                <a:gd name="T2" fmla="*/ 3 w 7"/>
                <a:gd name="T3" fmla="*/ 6 h 6"/>
                <a:gd name="T4" fmla="*/ 3 w 7"/>
                <a:gd name="T5" fmla="*/ 0 h 6"/>
              </a:gdLst>
              <a:ahLst/>
              <a:cxnLst>
                <a:cxn ang="0">
                  <a:pos x="T0" y="T1"/>
                </a:cxn>
                <a:cxn ang="0">
                  <a:pos x="T2" y="T3"/>
                </a:cxn>
                <a:cxn ang="0">
                  <a:pos x="T4" y="T5"/>
                </a:cxn>
              </a:cxnLst>
              <a:rect l="0" t="0" r="r" b="b"/>
              <a:pathLst>
                <a:path w="7" h="6">
                  <a:moveTo>
                    <a:pt x="3" y="0"/>
                  </a:moveTo>
                  <a:cubicBezTo>
                    <a:pt x="0" y="0"/>
                    <a:pt x="0" y="6"/>
                    <a:pt x="3" y="6"/>
                  </a:cubicBezTo>
                  <a:cubicBezTo>
                    <a:pt x="7" y="6"/>
                    <a:pt x="7" y="0"/>
                    <a:pt x="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20">
              <a:extLst>
                <a:ext uri="{FF2B5EF4-FFF2-40B4-BE49-F238E27FC236}">
                  <a16:creationId xmlns:a16="http://schemas.microsoft.com/office/drawing/2014/main" id="{16B0EB8F-BCC5-4A86-BCD5-948A2A94B400}"/>
                </a:ext>
              </a:extLst>
            </p:cNvPr>
            <p:cNvSpPr>
              <a:spLocks/>
            </p:cNvSpPr>
            <p:nvPr userDrawn="1"/>
          </p:nvSpPr>
          <p:spPr bwMode="auto">
            <a:xfrm>
              <a:off x="1914525" y="261938"/>
              <a:ext cx="46038" cy="39688"/>
            </a:xfrm>
            <a:custGeom>
              <a:avLst/>
              <a:gdLst>
                <a:gd name="T0" fmla="*/ 4 w 7"/>
                <a:gd name="T1" fmla="*/ 0 h 6"/>
                <a:gd name="T2" fmla="*/ 4 w 7"/>
                <a:gd name="T3" fmla="*/ 6 h 6"/>
                <a:gd name="T4" fmla="*/ 4 w 7"/>
                <a:gd name="T5" fmla="*/ 0 h 6"/>
              </a:gdLst>
              <a:ahLst/>
              <a:cxnLst>
                <a:cxn ang="0">
                  <a:pos x="T0" y="T1"/>
                </a:cxn>
                <a:cxn ang="0">
                  <a:pos x="T2" y="T3"/>
                </a:cxn>
                <a:cxn ang="0">
                  <a:pos x="T4" y="T5"/>
                </a:cxn>
              </a:cxnLst>
              <a:rect l="0" t="0" r="r" b="b"/>
              <a:pathLst>
                <a:path w="7" h="6">
                  <a:moveTo>
                    <a:pt x="4" y="0"/>
                  </a:moveTo>
                  <a:cubicBezTo>
                    <a:pt x="0" y="0"/>
                    <a:pt x="0" y="6"/>
                    <a:pt x="4" y="6"/>
                  </a:cubicBezTo>
                  <a:cubicBezTo>
                    <a:pt x="7" y="6"/>
                    <a:pt x="7" y="0"/>
                    <a:pt x="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21">
              <a:extLst>
                <a:ext uri="{FF2B5EF4-FFF2-40B4-BE49-F238E27FC236}">
                  <a16:creationId xmlns:a16="http://schemas.microsoft.com/office/drawing/2014/main" id="{2106223E-A056-4C19-AB0D-4EDB524EDB34}"/>
                </a:ext>
              </a:extLst>
            </p:cNvPr>
            <p:cNvSpPr>
              <a:spLocks/>
            </p:cNvSpPr>
            <p:nvPr userDrawn="1"/>
          </p:nvSpPr>
          <p:spPr bwMode="auto">
            <a:xfrm>
              <a:off x="6462713" y="201613"/>
              <a:ext cx="52388" cy="33338"/>
            </a:xfrm>
            <a:custGeom>
              <a:avLst/>
              <a:gdLst>
                <a:gd name="T0" fmla="*/ 4 w 8"/>
                <a:gd name="T1" fmla="*/ 0 h 5"/>
                <a:gd name="T2" fmla="*/ 4 w 8"/>
                <a:gd name="T3" fmla="*/ 5 h 5"/>
                <a:gd name="T4" fmla="*/ 4 w 8"/>
                <a:gd name="T5" fmla="*/ 0 h 5"/>
              </a:gdLst>
              <a:ahLst/>
              <a:cxnLst>
                <a:cxn ang="0">
                  <a:pos x="T0" y="T1"/>
                </a:cxn>
                <a:cxn ang="0">
                  <a:pos x="T2" y="T3"/>
                </a:cxn>
                <a:cxn ang="0">
                  <a:pos x="T4" y="T5"/>
                </a:cxn>
              </a:cxnLst>
              <a:rect l="0" t="0" r="r" b="b"/>
              <a:pathLst>
                <a:path w="8" h="5">
                  <a:moveTo>
                    <a:pt x="4" y="0"/>
                  </a:moveTo>
                  <a:cubicBezTo>
                    <a:pt x="0" y="0"/>
                    <a:pt x="0" y="5"/>
                    <a:pt x="4" y="5"/>
                  </a:cubicBezTo>
                  <a:cubicBezTo>
                    <a:pt x="8" y="5"/>
                    <a:pt x="8" y="0"/>
                    <a:pt x="4" y="0"/>
                  </a:cubicBezTo>
                  <a:close/>
                </a:path>
              </a:pathLst>
            </a:custGeom>
            <a:solidFill>
              <a:schemeClr val="accent4">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22">
              <a:extLst>
                <a:ext uri="{FF2B5EF4-FFF2-40B4-BE49-F238E27FC236}">
                  <a16:creationId xmlns:a16="http://schemas.microsoft.com/office/drawing/2014/main" id="{E99FFA07-7783-49CB-882B-8F7187E7F30A}"/>
                </a:ext>
              </a:extLst>
            </p:cNvPr>
            <p:cNvSpPr>
              <a:spLocks/>
            </p:cNvSpPr>
            <p:nvPr userDrawn="1"/>
          </p:nvSpPr>
          <p:spPr bwMode="auto">
            <a:xfrm>
              <a:off x="9250363" y="1768475"/>
              <a:ext cx="590550" cy="571500"/>
            </a:xfrm>
            <a:custGeom>
              <a:avLst/>
              <a:gdLst>
                <a:gd name="T0" fmla="*/ 50 w 88"/>
                <a:gd name="T1" fmla="*/ 0 h 85"/>
                <a:gd name="T2" fmla="*/ 33 w 88"/>
                <a:gd name="T3" fmla="*/ 3 h 85"/>
                <a:gd name="T4" fmla="*/ 9 w 88"/>
                <a:gd name="T5" fmla="*/ 58 h 85"/>
                <a:gd name="T6" fmla="*/ 50 w 88"/>
                <a:gd name="T7" fmla="*/ 85 h 85"/>
                <a:gd name="T8" fmla="*/ 66 w 88"/>
                <a:gd name="T9" fmla="*/ 82 h 85"/>
                <a:gd name="T10" fmla="*/ 88 w 88"/>
                <a:gd name="T11" fmla="*/ 63 h 85"/>
                <a:gd name="T12" fmla="*/ 73 w 88"/>
                <a:gd name="T13" fmla="*/ 73 h 85"/>
                <a:gd name="T14" fmla="*/ 59 w 88"/>
                <a:gd name="T15" fmla="*/ 76 h 85"/>
                <a:gd name="T16" fmla="*/ 22 w 88"/>
                <a:gd name="T17" fmla="*/ 52 h 85"/>
                <a:gd name="T18" fmla="*/ 44 w 88"/>
                <a:gd name="T19" fmla="*/ 3 h 85"/>
                <a:gd name="T20" fmla="*/ 54 w 88"/>
                <a:gd name="T21" fmla="*/ 0 h 85"/>
                <a:gd name="T22" fmla="*/ 50 w 88"/>
                <a:gd name="T2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85">
                  <a:moveTo>
                    <a:pt x="50" y="0"/>
                  </a:moveTo>
                  <a:cubicBezTo>
                    <a:pt x="44" y="0"/>
                    <a:pt x="39" y="1"/>
                    <a:pt x="33" y="3"/>
                  </a:cubicBezTo>
                  <a:cubicBezTo>
                    <a:pt x="11" y="12"/>
                    <a:pt x="0" y="36"/>
                    <a:pt x="9" y="58"/>
                  </a:cubicBezTo>
                  <a:cubicBezTo>
                    <a:pt x="16" y="74"/>
                    <a:pt x="32" y="85"/>
                    <a:pt x="50" y="85"/>
                  </a:cubicBezTo>
                  <a:cubicBezTo>
                    <a:pt x="55" y="85"/>
                    <a:pt x="61" y="84"/>
                    <a:pt x="66" y="82"/>
                  </a:cubicBezTo>
                  <a:cubicBezTo>
                    <a:pt x="75" y="78"/>
                    <a:pt x="83" y="71"/>
                    <a:pt x="88" y="63"/>
                  </a:cubicBezTo>
                  <a:cubicBezTo>
                    <a:pt x="84" y="67"/>
                    <a:pt x="79" y="71"/>
                    <a:pt x="73" y="73"/>
                  </a:cubicBezTo>
                  <a:cubicBezTo>
                    <a:pt x="68" y="75"/>
                    <a:pt x="64" y="76"/>
                    <a:pt x="59" y="76"/>
                  </a:cubicBezTo>
                  <a:cubicBezTo>
                    <a:pt x="43" y="76"/>
                    <a:pt x="28" y="67"/>
                    <a:pt x="22" y="52"/>
                  </a:cubicBezTo>
                  <a:cubicBezTo>
                    <a:pt x="14" y="32"/>
                    <a:pt x="24" y="10"/>
                    <a:pt x="44" y="3"/>
                  </a:cubicBezTo>
                  <a:cubicBezTo>
                    <a:pt x="48" y="1"/>
                    <a:pt x="51" y="1"/>
                    <a:pt x="54" y="0"/>
                  </a:cubicBezTo>
                  <a:cubicBezTo>
                    <a:pt x="53" y="0"/>
                    <a:pt x="51" y="0"/>
                    <a:pt x="50" y="0"/>
                  </a:cubicBezTo>
                </a:path>
              </a:pathLst>
            </a:custGeom>
            <a:solidFill>
              <a:schemeClr val="accent4">
                <a:alpha val="2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5">
              <a:extLst>
                <a:ext uri="{FF2B5EF4-FFF2-40B4-BE49-F238E27FC236}">
                  <a16:creationId xmlns:a16="http://schemas.microsoft.com/office/drawing/2014/main" id="{6501C61C-6DA1-4F96-AABE-921F6D9E5AFE}"/>
                </a:ext>
              </a:extLst>
            </p:cNvPr>
            <p:cNvSpPr>
              <a:spLocks/>
            </p:cNvSpPr>
            <p:nvPr userDrawn="1"/>
          </p:nvSpPr>
          <p:spPr bwMode="auto">
            <a:xfrm>
              <a:off x="0" y="3981450"/>
              <a:ext cx="9175750" cy="706438"/>
            </a:xfrm>
            <a:custGeom>
              <a:avLst/>
              <a:gdLst>
                <a:gd name="T0" fmla="*/ 1379 w 5780"/>
                <a:gd name="T1" fmla="*/ 0 h 445"/>
                <a:gd name="T2" fmla="*/ 0 w 5780"/>
                <a:gd name="T3" fmla="*/ 68 h 445"/>
                <a:gd name="T4" fmla="*/ 0 w 5780"/>
                <a:gd name="T5" fmla="*/ 445 h 445"/>
                <a:gd name="T6" fmla="*/ 5780 w 5780"/>
                <a:gd name="T7" fmla="*/ 445 h 445"/>
                <a:gd name="T8" fmla="*/ 2480 w 5780"/>
                <a:gd name="T9" fmla="*/ 123 h 445"/>
                <a:gd name="T10" fmla="*/ 1379 w 5780"/>
                <a:gd name="T11" fmla="*/ 0 h 445"/>
              </a:gdLst>
              <a:ahLst/>
              <a:cxnLst>
                <a:cxn ang="0">
                  <a:pos x="T0" y="T1"/>
                </a:cxn>
                <a:cxn ang="0">
                  <a:pos x="T2" y="T3"/>
                </a:cxn>
                <a:cxn ang="0">
                  <a:pos x="T4" y="T5"/>
                </a:cxn>
                <a:cxn ang="0">
                  <a:pos x="T6" y="T7"/>
                </a:cxn>
                <a:cxn ang="0">
                  <a:pos x="T8" y="T9"/>
                </a:cxn>
                <a:cxn ang="0">
                  <a:pos x="T10" y="T11"/>
                </a:cxn>
              </a:cxnLst>
              <a:rect l="0" t="0" r="r" b="b"/>
              <a:pathLst>
                <a:path w="5780" h="445">
                  <a:moveTo>
                    <a:pt x="1379" y="0"/>
                  </a:moveTo>
                  <a:lnTo>
                    <a:pt x="0" y="68"/>
                  </a:lnTo>
                  <a:lnTo>
                    <a:pt x="0" y="445"/>
                  </a:lnTo>
                  <a:lnTo>
                    <a:pt x="5780" y="445"/>
                  </a:lnTo>
                  <a:lnTo>
                    <a:pt x="2480" y="123"/>
                  </a:lnTo>
                  <a:lnTo>
                    <a:pt x="1379" y="0"/>
                  </a:lnTo>
                  <a:close/>
                </a:path>
              </a:pathLst>
            </a:custGeom>
            <a:gradFill>
              <a:gsLst>
                <a:gs pos="100000">
                  <a:schemeClr val="accent3"/>
                </a:gs>
                <a:gs pos="0">
                  <a:schemeClr val="accent4"/>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0" name="Freeform 7">
              <a:extLst>
                <a:ext uri="{FF2B5EF4-FFF2-40B4-BE49-F238E27FC236}">
                  <a16:creationId xmlns:a16="http://schemas.microsoft.com/office/drawing/2014/main" id="{CD78B4AA-ABF1-420E-A561-94B51B1D94D4}"/>
                </a:ext>
              </a:extLst>
            </p:cNvPr>
            <p:cNvSpPr>
              <a:spLocks/>
            </p:cNvSpPr>
            <p:nvPr userDrawn="1"/>
          </p:nvSpPr>
          <p:spPr bwMode="auto">
            <a:xfrm>
              <a:off x="2760663" y="4102100"/>
              <a:ext cx="9424988" cy="585788"/>
            </a:xfrm>
            <a:custGeom>
              <a:avLst/>
              <a:gdLst>
                <a:gd name="T0" fmla="*/ 5937 w 5937"/>
                <a:gd name="T1" fmla="*/ 369 h 369"/>
                <a:gd name="T2" fmla="*/ 5937 w 5937"/>
                <a:gd name="T3" fmla="*/ 0 h 369"/>
                <a:gd name="T4" fmla="*/ 4325 w 5937"/>
                <a:gd name="T5" fmla="*/ 64 h 369"/>
                <a:gd name="T6" fmla="*/ 3351 w 5937"/>
                <a:gd name="T7" fmla="*/ 17 h 369"/>
                <a:gd name="T8" fmla="*/ 0 w 5937"/>
                <a:gd name="T9" fmla="*/ 369 h 369"/>
                <a:gd name="T10" fmla="*/ 5937 w 5937"/>
                <a:gd name="T11" fmla="*/ 369 h 369"/>
              </a:gdLst>
              <a:ahLst/>
              <a:cxnLst>
                <a:cxn ang="0">
                  <a:pos x="T0" y="T1"/>
                </a:cxn>
                <a:cxn ang="0">
                  <a:pos x="T2" y="T3"/>
                </a:cxn>
                <a:cxn ang="0">
                  <a:pos x="T4" y="T5"/>
                </a:cxn>
                <a:cxn ang="0">
                  <a:pos x="T6" y="T7"/>
                </a:cxn>
                <a:cxn ang="0">
                  <a:pos x="T8" y="T9"/>
                </a:cxn>
                <a:cxn ang="0">
                  <a:pos x="T10" y="T11"/>
                </a:cxn>
              </a:cxnLst>
              <a:rect l="0" t="0" r="r" b="b"/>
              <a:pathLst>
                <a:path w="5937" h="369">
                  <a:moveTo>
                    <a:pt x="5937" y="369"/>
                  </a:moveTo>
                  <a:lnTo>
                    <a:pt x="5937" y="0"/>
                  </a:lnTo>
                  <a:lnTo>
                    <a:pt x="4325" y="64"/>
                  </a:lnTo>
                  <a:lnTo>
                    <a:pt x="3351" y="17"/>
                  </a:lnTo>
                  <a:lnTo>
                    <a:pt x="0" y="369"/>
                  </a:lnTo>
                  <a:lnTo>
                    <a:pt x="5937" y="369"/>
                  </a:lnTo>
                  <a:close/>
                </a:path>
              </a:pathLst>
            </a:custGeom>
            <a:gradFill>
              <a:gsLst>
                <a:gs pos="100000">
                  <a:schemeClr val="accent3"/>
                </a:gs>
                <a:gs pos="0">
                  <a:schemeClr val="accent4"/>
                </a:gs>
              </a:gsLst>
              <a:lin ang="162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1" name="Rectangle 110">
              <a:extLst>
                <a:ext uri="{FF2B5EF4-FFF2-40B4-BE49-F238E27FC236}">
                  <a16:creationId xmlns:a16="http://schemas.microsoft.com/office/drawing/2014/main" id="{52FB8A45-9ED0-4D3A-8676-70B659542F2F}"/>
                </a:ext>
              </a:extLst>
            </p:cNvPr>
            <p:cNvSpPr>
              <a:spLocks noChangeArrowheads="1"/>
            </p:cNvSpPr>
            <p:nvPr userDrawn="1"/>
          </p:nvSpPr>
          <p:spPr bwMode="auto">
            <a:xfrm>
              <a:off x="11114" y="5907501"/>
              <a:ext cx="12180888" cy="990600"/>
            </a:xfrm>
            <a:prstGeom prst="rect">
              <a:avLst/>
            </a:prstGeom>
            <a:solidFill>
              <a:schemeClr val="accent2">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2" name="Rectangle 111">
              <a:extLst>
                <a:ext uri="{FF2B5EF4-FFF2-40B4-BE49-F238E27FC236}">
                  <a16:creationId xmlns:a16="http://schemas.microsoft.com/office/drawing/2014/main" id="{1D5D6742-AFB2-4CD3-85DA-1C21D0EFCC70}"/>
                </a:ext>
              </a:extLst>
            </p:cNvPr>
            <p:cNvSpPr>
              <a:spLocks noChangeArrowheads="1"/>
            </p:cNvSpPr>
            <p:nvPr userDrawn="1"/>
          </p:nvSpPr>
          <p:spPr bwMode="auto">
            <a:xfrm>
              <a:off x="-2" y="5253995"/>
              <a:ext cx="12180888" cy="565150"/>
            </a:xfrm>
            <a:prstGeom prst="rect">
              <a:avLst/>
            </a:prstGeom>
            <a:solidFill>
              <a:schemeClr val="accent1">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3" name="Rectangle 112">
              <a:extLst>
                <a:ext uri="{FF2B5EF4-FFF2-40B4-BE49-F238E27FC236}">
                  <a16:creationId xmlns:a16="http://schemas.microsoft.com/office/drawing/2014/main" id="{378EC00B-16AD-4DF5-9CB3-BD0D655AC0F8}"/>
                </a:ext>
              </a:extLst>
            </p:cNvPr>
            <p:cNvSpPr>
              <a:spLocks noChangeArrowheads="1"/>
            </p:cNvSpPr>
            <p:nvPr userDrawn="1"/>
          </p:nvSpPr>
          <p:spPr bwMode="auto">
            <a:xfrm>
              <a:off x="-2" y="4846008"/>
              <a:ext cx="12180888" cy="407988"/>
            </a:xfrm>
            <a:prstGeom prst="rect">
              <a:avLst/>
            </a:prstGeom>
            <a:solidFill>
              <a:schemeClr val="accent3">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4" name="Rectangle 113">
              <a:extLst>
                <a:ext uri="{FF2B5EF4-FFF2-40B4-BE49-F238E27FC236}">
                  <a16:creationId xmlns:a16="http://schemas.microsoft.com/office/drawing/2014/main" id="{F3BF77A2-0470-47DE-96E8-C69D83D43230}"/>
                </a:ext>
              </a:extLst>
            </p:cNvPr>
            <p:cNvSpPr>
              <a:spLocks noChangeArrowheads="1"/>
            </p:cNvSpPr>
            <p:nvPr userDrawn="1"/>
          </p:nvSpPr>
          <p:spPr bwMode="auto">
            <a:xfrm>
              <a:off x="-2" y="4630108"/>
              <a:ext cx="12180888" cy="215900"/>
            </a:xfrm>
            <a:prstGeom prst="rect">
              <a:avLst/>
            </a:prstGeom>
            <a:solidFill>
              <a:schemeClr val="accent4">
                <a:alpha val="1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40">
              <a:extLst>
                <a:ext uri="{FF2B5EF4-FFF2-40B4-BE49-F238E27FC236}">
                  <a16:creationId xmlns:a16="http://schemas.microsoft.com/office/drawing/2014/main" id="{672A3B4E-5D32-4C0C-B0AD-41B1C683F71F}"/>
                </a:ext>
              </a:extLst>
            </p:cNvPr>
            <p:cNvSpPr>
              <a:spLocks/>
            </p:cNvSpPr>
            <p:nvPr userDrawn="1"/>
          </p:nvSpPr>
          <p:spPr bwMode="auto">
            <a:xfrm>
              <a:off x="982208" y="5565088"/>
              <a:ext cx="1560244" cy="705537"/>
            </a:xfrm>
            <a:custGeom>
              <a:avLst/>
              <a:gdLst>
                <a:gd name="T0" fmla="*/ 515 w 774"/>
                <a:gd name="T1" fmla="*/ 350 h 350"/>
                <a:gd name="T2" fmla="*/ 0 w 774"/>
                <a:gd name="T3" fmla="*/ 350 h 350"/>
                <a:gd name="T4" fmla="*/ 431 w 774"/>
                <a:gd name="T5" fmla="*/ 0 h 350"/>
                <a:gd name="T6" fmla="*/ 774 w 774"/>
                <a:gd name="T7" fmla="*/ 0 h 350"/>
                <a:gd name="T8" fmla="*/ 515 w 774"/>
                <a:gd name="T9" fmla="*/ 350 h 350"/>
              </a:gdLst>
              <a:ahLst/>
              <a:cxnLst>
                <a:cxn ang="0">
                  <a:pos x="T0" y="T1"/>
                </a:cxn>
                <a:cxn ang="0">
                  <a:pos x="T2" y="T3"/>
                </a:cxn>
                <a:cxn ang="0">
                  <a:pos x="T4" y="T5"/>
                </a:cxn>
                <a:cxn ang="0">
                  <a:pos x="T6" y="T7"/>
                </a:cxn>
                <a:cxn ang="0">
                  <a:pos x="T8" y="T9"/>
                </a:cxn>
              </a:cxnLst>
              <a:rect l="0" t="0" r="r" b="b"/>
              <a:pathLst>
                <a:path w="774" h="350">
                  <a:moveTo>
                    <a:pt x="515" y="350"/>
                  </a:moveTo>
                  <a:lnTo>
                    <a:pt x="0" y="350"/>
                  </a:lnTo>
                  <a:lnTo>
                    <a:pt x="431" y="0"/>
                  </a:lnTo>
                  <a:lnTo>
                    <a:pt x="774" y="0"/>
                  </a:lnTo>
                  <a:lnTo>
                    <a:pt x="515" y="350"/>
                  </a:lnTo>
                  <a:close/>
                </a:path>
              </a:pathLst>
            </a:custGeom>
            <a:gradFill>
              <a:gsLst>
                <a:gs pos="900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6" name="Freeform 41">
              <a:extLst>
                <a:ext uri="{FF2B5EF4-FFF2-40B4-BE49-F238E27FC236}">
                  <a16:creationId xmlns:a16="http://schemas.microsoft.com/office/drawing/2014/main" id="{3B3AA224-DBD9-4EBB-834B-A47925B2147C}"/>
                </a:ext>
              </a:extLst>
            </p:cNvPr>
            <p:cNvSpPr>
              <a:spLocks/>
            </p:cNvSpPr>
            <p:nvPr userDrawn="1"/>
          </p:nvSpPr>
          <p:spPr bwMode="auto">
            <a:xfrm>
              <a:off x="1851027" y="5329237"/>
              <a:ext cx="691426" cy="235851"/>
            </a:xfrm>
            <a:custGeom>
              <a:avLst/>
              <a:gdLst>
                <a:gd name="T0" fmla="*/ 269 w 343"/>
                <a:gd name="T1" fmla="*/ 30 h 117"/>
                <a:gd name="T2" fmla="*/ 119 w 343"/>
                <a:gd name="T3" fmla="*/ 0 h 117"/>
                <a:gd name="T4" fmla="*/ 0 w 343"/>
                <a:gd name="T5" fmla="*/ 117 h 117"/>
                <a:gd name="T6" fmla="*/ 343 w 343"/>
                <a:gd name="T7" fmla="*/ 117 h 117"/>
                <a:gd name="T8" fmla="*/ 269 w 343"/>
                <a:gd name="T9" fmla="*/ 30 h 117"/>
              </a:gdLst>
              <a:ahLst/>
              <a:cxnLst>
                <a:cxn ang="0">
                  <a:pos x="T0" y="T1"/>
                </a:cxn>
                <a:cxn ang="0">
                  <a:pos x="T2" y="T3"/>
                </a:cxn>
                <a:cxn ang="0">
                  <a:pos x="T4" y="T5"/>
                </a:cxn>
                <a:cxn ang="0">
                  <a:pos x="T6" y="T7"/>
                </a:cxn>
                <a:cxn ang="0">
                  <a:pos x="T8" y="T9"/>
                </a:cxn>
              </a:cxnLst>
              <a:rect l="0" t="0" r="r" b="b"/>
              <a:pathLst>
                <a:path w="343" h="117">
                  <a:moveTo>
                    <a:pt x="269" y="30"/>
                  </a:moveTo>
                  <a:lnTo>
                    <a:pt x="119" y="0"/>
                  </a:lnTo>
                  <a:lnTo>
                    <a:pt x="0" y="117"/>
                  </a:lnTo>
                  <a:lnTo>
                    <a:pt x="343" y="117"/>
                  </a:lnTo>
                  <a:lnTo>
                    <a:pt x="269" y="3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42">
              <a:extLst>
                <a:ext uri="{FF2B5EF4-FFF2-40B4-BE49-F238E27FC236}">
                  <a16:creationId xmlns:a16="http://schemas.microsoft.com/office/drawing/2014/main" id="{41DFC40D-7B95-4224-8E2E-252528797C3F}"/>
                </a:ext>
              </a:extLst>
            </p:cNvPr>
            <p:cNvSpPr>
              <a:spLocks/>
            </p:cNvSpPr>
            <p:nvPr userDrawn="1"/>
          </p:nvSpPr>
          <p:spPr bwMode="auto">
            <a:xfrm>
              <a:off x="1851027" y="5329237"/>
              <a:ext cx="691426" cy="235851"/>
            </a:xfrm>
            <a:custGeom>
              <a:avLst/>
              <a:gdLst>
                <a:gd name="T0" fmla="*/ 269 w 343"/>
                <a:gd name="T1" fmla="*/ 45 h 117"/>
                <a:gd name="T2" fmla="*/ 119 w 343"/>
                <a:gd name="T3" fmla="*/ 0 h 117"/>
                <a:gd name="T4" fmla="*/ 0 w 343"/>
                <a:gd name="T5" fmla="*/ 117 h 117"/>
                <a:gd name="T6" fmla="*/ 343 w 343"/>
                <a:gd name="T7" fmla="*/ 117 h 117"/>
                <a:gd name="T8" fmla="*/ 269 w 343"/>
                <a:gd name="T9" fmla="*/ 45 h 117"/>
              </a:gdLst>
              <a:ahLst/>
              <a:cxnLst>
                <a:cxn ang="0">
                  <a:pos x="T0" y="T1"/>
                </a:cxn>
                <a:cxn ang="0">
                  <a:pos x="T2" y="T3"/>
                </a:cxn>
                <a:cxn ang="0">
                  <a:pos x="T4" y="T5"/>
                </a:cxn>
                <a:cxn ang="0">
                  <a:pos x="T6" y="T7"/>
                </a:cxn>
                <a:cxn ang="0">
                  <a:pos x="T8" y="T9"/>
                </a:cxn>
              </a:cxnLst>
              <a:rect l="0" t="0" r="r" b="b"/>
              <a:pathLst>
                <a:path w="343" h="117">
                  <a:moveTo>
                    <a:pt x="269" y="45"/>
                  </a:moveTo>
                  <a:lnTo>
                    <a:pt x="119" y="0"/>
                  </a:lnTo>
                  <a:lnTo>
                    <a:pt x="0" y="117"/>
                  </a:lnTo>
                  <a:lnTo>
                    <a:pt x="343" y="117"/>
                  </a:lnTo>
                  <a:lnTo>
                    <a:pt x="269" y="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38" name="组合 37">
              <a:extLst>
                <a:ext uri="{FF2B5EF4-FFF2-40B4-BE49-F238E27FC236}">
                  <a16:creationId xmlns:a16="http://schemas.microsoft.com/office/drawing/2014/main" id="{7A13BE99-2D7B-49EB-B9D6-A334EF266CBC}"/>
                </a:ext>
              </a:extLst>
            </p:cNvPr>
            <p:cNvGrpSpPr/>
            <p:nvPr userDrawn="1"/>
          </p:nvGrpSpPr>
          <p:grpSpPr>
            <a:xfrm>
              <a:off x="2125178" y="5710227"/>
              <a:ext cx="721663" cy="560398"/>
              <a:chOff x="2125178" y="5710227"/>
              <a:chExt cx="721663" cy="560398"/>
            </a:xfrm>
          </p:grpSpPr>
          <p:sp>
            <p:nvSpPr>
              <p:cNvPr id="63" name="Freeform 43">
                <a:extLst>
                  <a:ext uri="{FF2B5EF4-FFF2-40B4-BE49-F238E27FC236}">
                    <a16:creationId xmlns:a16="http://schemas.microsoft.com/office/drawing/2014/main" id="{B20D3A0E-C4FA-41D2-BAC6-E7C1410F32DC}"/>
                  </a:ext>
                </a:extLst>
              </p:cNvPr>
              <p:cNvSpPr>
                <a:spLocks/>
              </p:cNvSpPr>
              <p:nvPr userDrawn="1"/>
            </p:nvSpPr>
            <p:spPr bwMode="auto">
              <a:xfrm>
                <a:off x="2483994" y="5710227"/>
                <a:ext cx="362847" cy="114902"/>
              </a:xfrm>
              <a:custGeom>
                <a:avLst/>
                <a:gdLst>
                  <a:gd name="T0" fmla="*/ 133 w 180"/>
                  <a:gd name="T1" fmla="*/ 0 h 57"/>
                  <a:gd name="T2" fmla="*/ 74 w 180"/>
                  <a:gd name="T3" fmla="*/ 0 h 57"/>
                  <a:gd name="T4" fmla="*/ 0 w 180"/>
                  <a:gd name="T5" fmla="*/ 57 h 57"/>
                  <a:gd name="T6" fmla="*/ 180 w 180"/>
                  <a:gd name="T7" fmla="*/ 57 h 57"/>
                  <a:gd name="T8" fmla="*/ 133 w 180"/>
                  <a:gd name="T9" fmla="*/ 0 h 57"/>
                </a:gdLst>
                <a:ahLst/>
                <a:cxnLst>
                  <a:cxn ang="0">
                    <a:pos x="T0" y="T1"/>
                  </a:cxn>
                  <a:cxn ang="0">
                    <a:pos x="T2" y="T3"/>
                  </a:cxn>
                  <a:cxn ang="0">
                    <a:pos x="T4" y="T5"/>
                  </a:cxn>
                  <a:cxn ang="0">
                    <a:pos x="T6" y="T7"/>
                  </a:cxn>
                  <a:cxn ang="0">
                    <a:pos x="T8" y="T9"/>
                  </a:cxn>
                </a:cxnLst>
                <a:rect l="0" t="0" r="r" b="b"/>
                <a:pathLst>
                  <a:path w="180" h="57">
                    <a:moveTo>
                      <a:pt x="133" y="0"/>
                    </a:moveTo>
                    <a:lnTo>
                      <a:pt x="74" y="0"/>
                    </a:lnTo>
                    <a:lnTo>
                      <a:pt x="0" y="57"/>
                    </a:lnTo>
                    <a:lnTo>
                      <a:pt x="180" y="57"/>
                    </a:lnTo>
                    <a:lnTo>
                      <a:pt x="133" y="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4" name="Freeform 44">
                <a:extLst>
                  <a:ext uri="{FF2B5EF4-FFF2-40B4-BE49-F238E27FC236}">
                    <a16:creationId xmlns:a16="http://schemas.microsoft.com/office/drawing/2014/main" id="{AF4574E5-93E9-4FA7-BC18-38A56294F92B}"/>
                  </a:ext>
                </a:extLst>
              </p:cNvPr>
              <p:cNvSpPr>
                <a:spLocks/>
              </p:cNvSpPr>
              <p:nvPr userDrawn="1"/>
            </p:nvSpPr>
            <p:spPr bwMode="auto">
              <a:xfrm>
                <a:off x="2483994" y="5740464"/>
                <a:ext cx="362847" cy="84664"/>
              </a:xfrm>
              <a:custGeom>
                <a:avLst/>
                <a:gdLst>
                  <a:gd name="T0" fmla="*/ 133 w 180"/>
                  <a:gd name="T1" fmla="*/ 0 h 42"/>
                  <a:gd name="T2" fmla="*/ 74 w 180"/>
                  <a:gd name="T3" fmla="*/ 0 h 42"/>
                  <a:gd name="T4" fmla="*/ 0 w 180"/>
                  <a:gd name="T5" fmla="*/ 42 h 42"/>
                  <a:gd name="T6" fmla="*/ 180 w 180"/>
                  <a:gd name="T7" fmla="*/ 42 h 42"/>
                  <a:gd name="T8" fmla="*/ 133 w 180"/>
                  <a:gd name="T9" fmla="*/ 0 h 42"/>
                </a:gdLst>
                <a:ahLst/>
                <a:cxnLst>
                  <a:cxn ang="0">
                    <a:pos x="T0" y="T1"/>
                  </a:cxn>
                  <a:cxn ang="0">
                    <a:pos x="T2" y="T3"/>
                  </a:cxn>
                  <a:cxn ang="0">
                    <a:pos x="T4" y="T5"/>
                  </a:cxn>
                  <a:cxn ang="0">
                    <a:pos x="T6" y="T7"/>
                  </a:cxn>
                  <a:cxn ang="0">
                    <a:pos x="T8" y="T9"/>
                  </a:cxn>
                </a:cxnLst>
                <a:rect l="0" t="0" r="r" b="b"/>
                <a:pathLst>
                  <a:path w="180" h="42">
                    <a:moveTo>
                      <a:pt x="133" y="0"/>
                    </a:moveTo>
                    <a:lnTo>
                      <a:pt x="74" y="0"/>
                    </a:lnTo>
                    <a:lnTo>
                      <a:pt x="0" y="42"/>
                    </a:lnTo>
                    <a:lnTo>
                      <a:pt x="180" y="42"/>
                    </a:lnTo>
                    <a:lnTo>
                      <a:pt x="13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45">
                <a:extLst>
                  <a:ext uri="{FF2B5EF4-FFF2-40B4-BE49-F238E27FC236}">
                    <a16:creationId xmlns:a16="http://schemas.microsoft.com/office/drawing/2014/main" id="{8355D433-21B1-49A4-AE69-D0ED736F8373}"/>
                  </a:ext>
                </a:extLst>
              </p:cNvPr>
              <p:cNvSpPr>
                <a:spLocks/>
              </p:cNvSpPr>
              <p:nvPr userDrawn="1"/>
            </p:nvSpPr>
            <p:spPr bwMode="auto">
              <a:xfrm>
                <a:off x="2125178" y="5825128"/>
                <a:ext cx="721663" cy="445497"/>
              </a:xfrm>
              <a:custGeom>
                <a:avLst/>
                <a:gdLst>
                  <a:gd name="T0" fmla="*/ 249 w 358"/>
                  <a:gd name="T1" fmla="*/ 221 h 221"/>
                  <a:gd name="T2" fmla="*/ 0 w 358"/>
                  <a:gd name="T3" fmla="*/ 221 h 221"/>
                  <a:gd name="T4" fmla="*/ 178 w 358"/>
                  <a:gd name="T5" fmla="*/ 0 h 221"/>
                  <a:gd name="T6" fmla="*/ 358 w 358"/>
                  <a:gd name="T7" fmla="*/ 0 h 221"/>
                  <a:gd name="T8" fmla="*/ 249 w 358"/>
                  <a:gd name="T9" fmla="*/ 221 h 221"/>
                </a:gdLst>
                <a:ahLst/>
                <a:cxnLst>
                  <a:cxn ang="0">
                    <a:pos x="T0" y="T1"/>
                  </a:cxn>
                  <a:cxn ang="0">
                    <a:pos x="T2" y="T3"/>
                  </a:cxn>
                  <a:cxn ang="0">
                    <a:pos x="T4" y="T5"/>
                  </a:cxn>
                  <a:cxn ang="0">
                    <a:pos x="T6" y="T7"/>
                  </a:cxn>
                  <a:cxn ang="0">
                    <a:pos x="T8" y="T9"/>
                  </a:cxn>
                </a:cxnLst>
                <a:rect l="0" t="0" r="r" b="b"/>
                <a:pathLst>
                  <a:path w="358" h="221">
                    <a:moveTo>
                      <a:pt x="249" y="221"/>
                    </a:moveTo>
                    <a:lnTo>
                      <a:pt x="0" y="221"/>
                    </a:lnTo>
                    <a:lnTo>
                      <a:pt x="178" y="0"/>
                    </a:lnTo>
                    <a:lnTo>
                      <a:pt x="358" y="0"/>
                    </a:lnTo>
                    <a:lnTo>
                      <a:pt x="249" y="221"/>
                    </a:lnTo>
                    <a:close/>
                  </a:path>
                </a:pathLst>
              </a:custGeom>
              <a:gradFill>
                <a:gsLst>
                  <a:gs pos="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grpSp>
          <p:nvGrpSpPr>
            <p:cNvPr id="39" name="组合 38">
              <a:extLst>
                <a:ext uri="{FF2B5EF4-FFF2-40B4-BE49-F238E27FC236}">
                  <a16:creationId xmlns:a16="http://schemas.microsoft.com/office/drawing/2014/main" id="{D7744292-5C2D-43DB-B3E1-80A7EC129D37}"/>
                </a:ext>
              </a:extLst>
            </p:cNvPr>
            <p:cNvGrpSpPr/>
            <p:nvPr userDrawn="1"/>
          </p:nvGrpSpPr>
          <p:grpSpPr>
            <a:xfrm flipH="1">
              <a:off x="9861550" y="5521392"/>
              <a:ext cx="721663" cy="560398"/>
              <a:chOff x="2125178" y="5710227"/>
              <a:chExt cx="721663" cy="560398"/>
            </a:xfrm>
          </p:grpSpPr>
          <p:sp>
            <p:nvSpPr>
              <p:cNvPr id="60" name="Freeform 43">
                <a:extLst>
                  <a:ext uri="{FF2B5EF4-FFF2-40B4-BE49-F238E27FC236}">
                    <a16:creationId xmlns:a16="http://schemas.microsoft.com/office/drawing/2014/main" id="{3E41AF28-29E5-4460-BC2B-47E9ACCB8EDC}"/>
                  </a:ext>
                </a:extLst>
              </p:cNvPr>
              <p:cNvSpPr>
                <a:spLocks/>
              </p:cNvSpPr>
              <p:nvPr userDrawn="1"/>
            </p:nvSpPr>
            <p:spPr bwMode="auto">
              <a:xfrm>
                <a:off x="2483994" y="5710227"/>
                <a:ext cx="362847" cy="114902"/>
              </a:xfrm>
              <a:custGeom>
                <a:avLst/>
                <a:gdLst>
                  <a:gd name="T0" fmla="*/ 133 w 180"/>
                  <a:gd name="T1" fmla="*/ 0 h 57"/>
                  <a:gd name="T2" fmla="*/ 74 w 180"/>
                  <a:gd name="T3" fmla="*/ 0 h 57"/>
                  <a:gd name="T4" fmla="*/ 0 w 180"/>
                  <a:gd name="T5" fmla="*/ 57 h 57"/>
                  <a:gd name="T6" fmla="*/ 180 w 180"/>
                  <a:gd name="T7" fmla="*/ 57 h 57"/>
                  <a:gd name="T8" fmla="*/ 133 w 180"/>
                  <a:gd name="T9" fmla="*/ 0 h 57"/>
                </a:gdLst>
                <a:ahLst/>
                <a:cxnLst>
                  <a:cxn ang="0">
                    <a:pos x="T0" y="T1"/>
                  </a:cxn>
                  <a:cxn ang="0">
                    <a:pos x="T2" y="T3"/>
                  </a:cxn>
                  <a:cxn ang="0">
                    <a:pos x="T4" y="T5"/>
                  </a:cxn>
                  <a:cxn ang="0">
                    <a:pos x="T6" y="T7"/>
                  </a:cxn>
                  <a:cxn ang="0">
                    <a:pos x="T8" y="T9"/>
                  </a:cxn>
                </a:cxnLst>
                <a:rect l="0" t="0" r="r" b="b"/>
                <a:pathLst>
                  <a:path w="180" h="57">
                    <a:moveTo>
                      <a:pt x="133" y="0"/>
                    </a:moveTo>
                    <a:lnTo>
                      <a:pt x="74" y="0"/>
                    </a:lnTo>
                    <a:lnTo>
                      <a:pt x="0" y="57"/>
                    </a:lnTo>
                    <a:lnTo>
                      <a:pt x="180" y="57"/>
                    </a:lnTo>
                    <a:lnTo>
                      <a:pt x="133" y="0"/>
                    </a:lnTo>
                    <a:close/>
                  </a:path>
                </a:pathLst>
              </a:custGeom>
              <a:gradFill>
                <a:gsLst>
                  <a:gs pos="0">
                    <a:schemeClr val="accent2"/>
                  </a:gs>
                  <a:gs pos="100000">
                    <a:schemeClr val="accent3"/>
                  </a:gs>
                  <a:gs pos="53000">
                    <a:schemeClr val="accent1"/>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44">
                <a:extLst>
                  <a:ext uri="{FF2B5EF4-FFF2-40B4-BE49-F238E27FC236}">
                    <a16:creationId xmlns:a16="http://schemas.microsoft.com/office/drawing/2014/main" id="{FCB0BB88-7582-44F6-8229-21B89F82ECC3}"/>
                  </a:ext>
                </a:extLst>
              </p:cNvPr>
              <p:cNvSpPr>
                <a:spLocks/>
              </p:cNvSpPr>
              <p:nvPr userDrawn="1"/>
            </p:nvSpPr>
            <p:spPr bwMode="auto">
              <a:xfrm>
                <a:off x="2483994" y="5740464"/>
                <a:ext cx="362847" cy="84664"/>
              </a:xfrm>
              <a:custGeom>
                <a:avLst/>
                <a:gdLst>
                  <a:gd name="T0" fmla="*/ 133 w 180"/>
                  <a:gd name="T1" fmla="*/ 0 h 42"/>
                  <a:gd name="T2" fmla="*/ 74 w 180"/>
                  <a:gd name="T3" fmla="*/ 0 h 42"/>
                  <a:gd name="T4" fmla="*/ 0 w 180"/>
                  <a:gd name="T5" fmla="*/ 42 h 42"/>
                  <a:gd name="T6" fmla="*/ 180 w 180"/>
                  <a:gd name="T7" fmla="*/ 42 h 42"/>
                  <a:gd name="T8" fmla="*/ 133 w 180"/>
                  <a:gd name="T9" fmla="*/ 0 h 42"/>
                </a:gdLst>
                <a:ahLst/>
                <a:cxnLst>
                  <a:cxn ang="0">
                    <a:pos x="T0" y="T1"/>
                  </a:cxn>
                  <a:cxn ang="0">
                    <a:pos x="T2" y="T3"/>
                  </a:cxn>
                  <a:cxn ang="0">
                    <a:pos x="T4" y="T5"/>
                  </a:cxn>
                  <a:cxn ang="0">
                    <a:pos x="T6" y="T7"/>
                  </a:cxn>
                  <a:cxn ang="0">
                    <a:pos x="T8" y="T9"/>
                  </a:cxn>
                </a:cxnLst>
                <a:rect l="0" t="0" r="r" b="b"/>
                <a:pathLst>
                  <a:path w="180" h="42">
                    <a:moveTo>
                      <a:pt x="133" y="0"/>
                    </a:moveTo>
                    <a:lnTo>
                      <a:pt x="74" y="0"/>
                    </a:lnTo>
                    <a:lnTo>
                      <a:pt x="0" y="42"/>
                    </a:lnTo>
                    <a:lnTo>
                      <a:pt x="180" y="42"/>
                    </a:lnTo>
                    <a:lnTo>
                      <a:pt x="13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45">
                <a:extLst>
                  <a:ext uri="{FF2B5EF4-FFF2-40B4-BE49-F238E27FC236}">
                    <a16:creationId xmlns:a16="http://schemas.microsoft.com/office/drawing/2014/main" id="{CEC23F04-BDD8-4C3E-9EDC-1C949F62D896}"/>
                  </a:ext>
                </a:extLst>
              </p:cNvPr>
              <p:cNvSpPr>
                <a:spLocks/>
              </p:cNvSpPr>
              <p:nvPr userDrawn="1"/>
            </p:nvSpPr>
            <p:spPr bwMode="auto">
              <a:xfrm>
                <a:off x="2125178" y="5825128"/>
                <a:ext cx="721663" cy="445497"/>
              </a:xfrm>
              <a:custGeom>
                <a:avLst/>
                <a:gdLst>
                  <a:gd name="T0" fmla="*/ 249 w 358"/>
                  <a:gd name="T1" fmla="*/ 221 h 221"/>
                  <a:gd name="T2" fmla="*/ 0 w 358"/>
                  <a:gd name="T3" fmla="*/ 221 h 221"/>
                  <a:gd name="T4" fmla="*/ 178 w 358"/>
                  <a:gd name="T5" fmla="*/ 0 h 221"/>
                  <a:gd name="T6" fmla="*/ 358 w 358"/>
                  <a:gd name="T7" fmla="*/ 0 h 221"/>
                  <a:gd name="T8" fmla="*/ 249 w 358"/>
                  <a:gd name="T9" fmla="*/ 221 h 221"/>
                </a:gdLst>
                <a:ahLst/>
                <a:cxnLst>
                  <a:cxn ang="0">
                    <a:pos x="T0" y="T1"/>
                  </a:cxn>
                  <a:cxn ang="0">
                    <a:pos x="T2" y="T3"/>
                  </a:cxn>
                  <a:cxn ang="0">
                    <a:pos x="T4" y="T5"/>
                  </a:cxn>
                  <a:cxn ang="0">
                    <a:pos x="T6" y="T7"/>
                  </a:cxn>
                  <a:cxn ang="0">
                    <a:pos x="T8" y="T9"/>
                  </a:cxn>
                </a:cxnLst>
                <a:rect l="0" t="0" r="r" b="b"/>
                <a:pathLst>
                  <a:path w="358" h="221">
                    <a:moveTo>
                      <a:pt x="249" y="221"/>
                    </a:moveTo>
                    <a:lnTo>
                      <a:pt x="0" y="221"/>
                    </a:lnTo>
                    <a:lnTo>
                      <a:pt x="178" y="0"/>
                    </a:lnTo>
                    <a:lnTo>
                      <a:pt x="358" y="0"/>
                    </a:lnTo>
                    <a:lnTo>
                      <a:pt x="249" y="221"/>
                    </a:lnTo>
                    <a:close/>
                  </a:path>
                </a:pathLst>
              </a:custGeom>
              <a:gradFill>
                <a:gsLst>
                  <a:gs pos="0">
                    <a:schemeClr val="accent2">
                      <a:alpha val="47000"/>
                    </a:schemeClr>
                  </a:gs>
                  <a:gs pos="100000">
                    <a:schemeClr val="accent1">
                      <a:alpha val="44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40" name="Freeform 36">
              <a:extLst>
                <a:ext uri="{FF2B5EF4-FFF2-40B4-BE49-F238E27FC236}">
                  <a16:creationId xmlns:a16="http://schemas.microsoft.com/office/drawing/2014/main" id="{EEAF76BC-AB3C-411F-8454-906397C9412E}"/>
                </a:ext>
              </a:extLst>
            </p:cNvPr>
            <p:cNvSpPr>
              <a:spLocks/>
            </p:cNvSpPr>
            <p:nvPr userDrawn="1"/>
          </p:nvSpPr>
          <p:spPr bwMode="auto">
            <a:xfrm>
              <a:off x="3477645" y="3858782"/>
              <a:ext cx="4497835" cy="188321"/>
            </a:xfrm>
            <a:custGeom>
              <a:avLst/>
              <a:gdLst>
                <a:gd name="T0" fmla="*/ 522 w 1027"/>
                <a:gd name="T1" fmla="*/ 0 h 43"/>
                <a:gd name="T2" fmla="*/ 0 w 1027"/>
                <a:gd name="T3" fmla="*/ 43 h 43"/>
                <a:gd name="T4" fmla="*/ 455 w 1027"/>
                <a:gd name="T5" fmla="*/ 43 h 43"/>
                <a:gd name="T6" fmla="*/ 493 w 1027"/>
                <a:gd name="T7" fmla="*/ 29 h 43"/>
                <a:gd name="T8" fmla="*/ 1027 w 1027"/>
                <a:gd name="T9" fmla="*/ 43 h 43"/>
                <a:gd name="T10" fmla="*/ 522 w 1027"/>
                <a:gd name="T11" fmla="*/ 0 h 43"/>
              </a:gdLst>
              <a:ahLst/>
              <a:cxnLst>
                <a:cxn ang="0">
                  <a:pos x="T0" y="T1"/>
                </a:cxn>
                <a:cxn ang="0">
                  <a:pos x="T2" y="T3"/>
                </a:cxn>
                <a:cxn ang="0">
                  <a:pos x="T4" y="T5"/>
                </a:cxn>
                <a:cxn ang="0">
                  <a:pos x="T6" y="T7"/>
                </a:cxn>
                <a:cxn ang="0">
                  <a:pos x="T8" y="T9"/>
                </a:cxn>
                <a:cxn ang="0">
                  <a:pos x="T10" y="T11"/>
                </a:cxn>
              </a:cxnLst>
              <a:rect l="0" t="0" r="r" b="b"/>
              <a:pathLst>
                <a:path w="1027" h="43">
                  <a:moveTo>
                    <a:pt x="522" y="0"/>
                  </a:moveTo>
                  <a:lnTo>
                    <a:pt x="0" y="43"/>
                  </a:lnTo>
                  <a:lnTo>
                    <a:pt x="455" y="43"/>
                  </a:lnTo>
                  <a:lnTo>
                    <a:pt x="493" y="29"/>
                  </a:lnTo>
                  <a:lnTo>
                    <a:pt x="1027" y="43"/>
                  </a:lnTo>
                  <a:lnTo>
                    <a:pt x="522" y="0"/>
                  </a:lnTo>
                  <a:close/>
                </a:path>
              </a:pathLst>
            </a:custGeom>
            <a:solidFill>
              <a:schemeClr val="accent4">
                <a:alpha val="7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41" name="组合 40">
              <a:extLst>
                <a:ext uri="{FF2B5EF4-FFF2-40B4-BE49-F238E27FC236}">
                  <a16:creationId xmlns:a16="http://schemas.microsoft.com/office/drawing/2014/main" id="{71CAB93D-B97A-44EE-9C43-6E9C57B6E48D}"/>
                </a:ext>
              </a:extLst>
            </p:cNvPr>
            <p:cNvGrpSpPr/>
            <p:nvPr userDrawn="1"/>
          </p:nvGrpSpPr>
          <p:grpSpPr>
            <a:xfrm>
              <a:off x="4393480" y="4043602"/>
              <a:ext cx="3495806" cy="2528701"/>
              <a:chOff x="4387197" y="4112199"/>
              <a:chExt cx="3495806" cy="2528701"/>
            </a:xfrm>
          </p:grpSpPr>
          <p:sp>
            <p:nvSpPr>
              <p:cNvPr id="42" name="Freeform 84">
                <a:extLst>
                  <a:ext uri="{FF2B5EF4-FFF2-40B4-BE49-F238E27FC236}">
                    <a16:creationId xmlns:a16="http://schemas.microsoft.com/office/drawing/2014/main" id="{BDEEB3CF-85DB-43AE-9EA8-7816E2B99685}"/>
                  </a:ext>
                </a:extLst>
              </p:cNvPr>
              <p:cNvSpPr>
                <a:spLocks/>
              </p:cNvSpPr>
              <p:nvPr userDrawn="1"/>
            </p:nvSpPr>
            <p:spPr bwMode="auto">
              <a:xfrm>
                <a:off x="4387197" y="5329964"/>
                <a:ext cx="3495806" cy="1310936"/>
              </a:xfrm>
              <a:custGeom>
                <a:avLst/>
                <a:gdLst>
                  <a:gd name="T0" fmla="*/ 1018 w 1375"/>
                  <a:gd name="T1" fmla="*/ 0 h 386"/>
                  <a:gd name="T2" fmla="*/ 357 w 1375"/>
                  <a:gd name="T3" fmla="*/ 0 h 386"/>
                  <a:gd name="T4" fmla="*/ 0 w 1375"/>
                  <a:gd name="T5" fmla="*/ 386 h 386"/>
                  <a:gd name="T6" fmla="*/ 1375 w 1375"/>
                  <a:gd name="T7" fmla="*/ 386 h 386"/>
                  <a:gd name="T8" fmla="*/ 1018 w 1375"/>
                  <a:gd name="T9" fmla="*/ 0 h 386"/>
                </a:gdLst>
                <a:ahLst/>
                <a:cxnLst>
                  <a:cxn ang="0">
                    <a:pos x="T0" y="T1"/>
                  </a:cxn>
                  <a:cxn ang="0">
                    <a:pos x="T2" y="T3"/>
                  </a:cxn>
                  <a:cxn ang="0">
                    <a:pos x="T4" y="T5"/>
                  </a:cxn>
                  <a:cxn ang="0">
                    <a:pos x="T6" y="T7"/>
                  </a:cxn>
                  <a:cxn ang="0">
                    <a:pos x="T8" y="T9"/>
                  </a:cxn>
                </a:cxnLst>
                <a:rect l="0" t="0" r="r" b="b"/>
                <a:pathLst>
                  <a:path w="1375" h="386">
                    <a:moveTo>
                      <a:pt x="1018" y="0"/>
                    </a:moveTo>
                    <a:lnTo>
                      <a:pt x="357" y="0"/>
                    </a:lnTo>
                    <a:lnTo>
                      <a:pt x="0" y="386"/>
                    </a:lnTo>
                    <a:lnTo>
                      <a:pt x="1375" y="386"/>
                    </a:lnTo>
                    <a:lnTo>
                      <a:pt x="1018" y="0"/>
                    </a:lnTo>
                    <a:close/>
                  </a:path>
                </a:pathLst>
              </a:custGeom>
              <a:gradFill>
                <a:gsLst>
                  <a:gs pos="100000">
                    <a:schemeClr val="accent2">
                      <a:alpha val="9000"/>
                    </a:schemeClr>
                  </a:gs>
                  <a:gs pos="0">
                    <a:schemeClr val="accent1">
                      <a:lumMod val="50000"/>
                      <a:alpha val="3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85">
                <a:extLst>
                  <a:ext uri="{FF2B5EF4-FFF2-40B4-BE49-F238E27FC236}">
                    <a16:creationId xmlns:a16="http://schemas.microsoft.com/office/drawing/2014/main" id="{2A876E56-884B-4B8E-867D-FFC387F2CCEA}"/>
                  </a:ext>
                </a:extLst>
              </p:cNvPr>
              <p:cNvSpPr>
                <a:spLocks/>
              </p:cNvSpPr>
              <p:nvPr userDrawn="1"/>
            </p:nvSpPr>
            <p:spPr bwMode="auto">
              <a:xfrm>
                <a:off x="5997912" y="5449463"/>
                <a:ext cx="233725" cy="695609"/>
              </a:xfrm>
              <a:custGeom>
                <a:avLst/>
                <a:gdLst>
                  <a:gd name="T0" fmla="*/ 0 w 84"/>
                  <a:gd name="T1" fmla="*/ 0 h 250"/>
                  <a:gd name="T2" fmla="*/ 39 w 84"/>
                  <a:gd name="T3" fmla="*/ 250 h 250"/>
                  <a:gd name="T4" fmla="*/ 84 w 84"/>
                  <a:gd name="T5" fmla="*/ 0 h 250"/>
                  <a:gd name="T6" fmla="*/ 0 w 84"/>
                  <a:gd name="T7" fmla="*/ 0 h 250"/>
                </a:gdLst>
                <a:ahLst/>
                <a:cxnLst>
                  <a:cxn ang="0">
                    <a:pos x="T0" y="T1"/>
                  </a:cxn>
                  <a:cxn ang="0">
                    <a:pos x="T2" y="T3"/>
                  </a:cxn>
                  <a:cxn ang="0">
                    <a:pos x="T4" y="T5"/>
                  </a:cxn>
                  <a:cxn ang="0">
                    <a:pos x="T6" y="T7"/>
                  </a:cxn>
                </a:cxnLst>
                <a:rect l="0" t="0" r="r" b="b"/>
                <a:pathLst>
                  <a:path w="84" h="250">
                    <a:moveTo>
                      <a:pt x="0" y="0"/>
                    </a:moveTo>
                    <a:lnTo>
                      <a:pt x="39" y="250"/>
                    </a:lnTo>
                    <a:lnTo>
                      <a:pt x="84" y="0"/>
                    </a:lnTo>
                    <a:lnTo>
                      <a:pt x="0" y="0"/>
                    </a:lnTo>
                    <a:close/>
                  </a:path>
                </a:pathLst>
              </a:custGeom>
              <a:gradFill>
                <a:gsLst>
                  <a:gs pos="79000">
                    <a:schemeClr val="accent1">
                      <a:alpha val="8000"/>
                    </a:schemeClr>
                  </a:gs>
                  <a:gs pos="0">
                    <a:schemeClr val="accent4">
                      <a:alpha val="10000"/>
                    </a:schemeClr>
                  </a:gs>
                </a:gsLst>
                <a:lin ang="12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4" name="Oval 106">
                <a:extLst>
                  <a:ext uri="{FF2B5EF4-FFF2-40B4-BE49-F238E27FC236}">
                    <a16:creationId xmlns:a16="http://schemas.microsoft.com/office/drawing/2014/main" id="{ADF75396-990C-42E8-8165-8C6EA1CAD9D6}"/>
                  </a:ext>
                </a:extLst>
              </p:cNvPr>
              <p:cNvSpPr>
                <a:spLocks noChangeArrowheads="1"/>
              </p:cNvSpPr>
              <p:nvPr userDrawn="1"/>
            </p:nvSpPr>
            <p:spPr bwMode="auto">
              <a:xfrm>
                <a:off x="4822106" y="5354323"/>
                <a:ext cx="2702774" cy="259083"/>
              </a:xfrm>
              <a:prstGeom prst="ellipse">
                <a:avLst/>
              </a:prstGeom>
              <a:solidFill>
                <a:schemeClr val="accent3">
                  <a:alpha val="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45" name="Oval 106">
                <a:extLst>
                  <a:ext uri="{FF2B5EF4-FFF2-40B4-BE49-F238E27FC236}">
                    <a16:creationId xmlns:a16="http://schemas.microsoft.com/office/drawing/2014/main" id="{0346611C-2D5D-4922-83BE-39693C76574F}"/>
                  </a:ext>
                </a:extLst>
              </p:cNvPr>
              <p:cNvSpPr>
                <a:spLocks noChangeArrowheads="1"/>
              </p:cNvSpPr>
              <p:nvPr userDrawn="1"/>
            </p:nvSpPr>
            <p:spPr bwMode="auto">
              <a:xfrm>
                <a:off x="5008778" y="5348187"/>
                <a:ext cx="2329431" cy="240777"/>
              </a:xfrm>
              <a:prstGeom prst="ellipse">
                <a:avLst/>
              </a:prstGeom>
              <a:solidFill>
                <a:schemeClr val="accent3">
                  <a:alpha val="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46" name="Freeform 89">
                <a:extLst>
                  <a:ext uri="{FF2B5EF4-FFF2-40B4-BE49-F238E27FC236}">
                    <a16:creationId xmlns:a16="http://schemas.microsoft.com/office/drawing/2014/main" id="{C15F3D31-DB5B-43D4-9843-D871CC25A1EE}"/>
                  </a:ext>
                </a:extLst>
              </p:cNvPr>
              <p:cNvSpPr>
                <a:spLocks/>
              </p:cNvSpPr>
              <p:nvPr userDrawn="1"/>
            </p:nvSpPr>
            <p:spPr bwMode="auto">
              <a:xfrm>
                <a:off x="5712331" y="4540187"/>
                <a:ext cx="157405" cy="197949"/>
              </a:xfrm>
              <a:custGeom>
                <a:avLst/>
                <a:gdLst>
                  <a:gd name="T0" fmla="*/ 0 w 66"/>
                  <a:gd name="T1" fmla="*/ 0 h 83"/>
                  <a:gd name="T2" fmla="*/ 33 w 66"/>
                  <a:gd name="T3" fmla="*/ 83 h 83"/>
                  <a:gd name="T4" fmla="*/ 66 w 66"/>
                  <a:gd name="T5" fmla="*/ 0 h 83"/>
                  <a:gd name="T6" fmla="*/ 0 w 66"/>
                  <a:gd name="T7" fmla="*/ 0 h 83"/>
                </a:gdLst>
                <a:ahLst/>
                <a:cxnLst>
                  <a:cxn ang="0">
                    <a:pos x="T0" y="T1"/>
                  </a:cxn>
                  <a:cxn ang="0">
                    <a:pos x="T2" y="T3"/>
                  </a:cxn>
                  <a:cxn ang="0">
                    <a:pos x="T4" y="T5"/>
                  </a:cxn>
                  <a:cxn ang="0">
                    <a:pos x="T6" y="T7"/>
                  </a:cxn>
                </a:cxnLst>
                <a:rect l="0" t="0" r="r" b="b"/>
                <a:pathLst>
                  <a:path w="66" h="83">
                    <a:moveTo>
                      <a:pt x="0" y="0"/>
                    </a:moveTo>
                    <a:lnTo>
                      <a:pt x="33" y="83"/>
                    </a:lnTo>
                    <a:lnTo>
                      <a:pt x="66" y="0"/>
                    </a:lnTo>
                    <a:lnTo>
                      <a:pt x="0" y="0"/>
                    </a:lnTo>
                    <a:close/>
                  </a:path>
                </a:pathLst>
              </a:custGeom>
              <a:gradFill>
                <a:gsLst>
                  <a:gs pos="100000">
                    <a:schemeClr val="accent1"/>
                  </a:gs>
                  <a:gs pos="0">
                    <a:schemeClr val="accent4"/>
                  </a:gs>
                  <a:gs pos="42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90">
                <a:extLst>
                  <a:ext uri="{FF2B5EF4-FFF2-40B4-BE49-F238E27FC236}">
                    <a16:creationId xmlns:a16="http://schemas.microsoft.com/office/drawing/2014/main" id="{AB1C734C-EA01-4975-A65F-96050E571E09}"/>
                  </a:ext>
                </a:extLst>
              </p:cNvPr>
              <p:cNvSpPr>
                <a:spLocks/>
              </p:cNvSpPr>
              <p:nvPr userDrawn="1"/>
            </p:nvSpPr>
            <p:spPr bwMode="auto">
              <a:xfrm>
                <a:off x="5750490" y="4540187"/>
                <a:ext cx="159791" cy="197949"/>
              </a:xfrm>
              <a:custGeom>
                <a:avLst/>
                <a:gdLst>
                  <a:gd name="T0" fmla="*/ 0 w 67"/>
                  <a:gd name="T1" fmla="*/ 0 h 83"/>
                  <a:gd name="T2" fmla="*/ 34 w 67"/>
                  <a:gd name="T3" fmla="*/ 83 h 83"/>
                  <a:gd name="T4" fmla="*/ 67 w 67"/>
                  <a:gd name="T5" fmla="*/ 0 h 83"/>
                  <a:gd name="T6" fmla="*/ 0 w 67"/>
                  <a:gd name="T7" fmla="*/ 0 h 83"/>
                </a:gdLst>
                <a:ahLst/>
                <a:cxnLst>
                  <a:cxn ang="0">
                    <a:pos x="T0" y="T1"/>
                  </a:cxn>
                  <a:cxn ang="0">
                    <a:pos x="T2" y="T3"/>
                  </a:cxn>
                  <a:cxn ang="0">
                    <a:pos x="T4" y="T5"/>
                  </a:cxn>
                  <a:cxn ang="0">
                    <a:pos x="T6" y="T7"/>
                  </a:cxn>
                </a:cxnLst>
                <a:rect l="0" t="0" r="r" b="b"/>
                <a:pathLst>
                  <a:path w="67" h="83">
                    <a:moveTo>
                      <a:pt x="0" y="0"/>
                    </a:moveTo>
                    <a:lnTo>
                      <a:pt x="34" y="83"/>
                    </a:lnTo>
                    <a:lnTo>
                      <a:pt x="67" y="0"/>
                    </a:lnTo>
                    <a:lnTo>
                      <a:pt x="0" y="0"/>
                    </a:lnTo>
                    <a:close/>
                  </a:path>
                </a:pathLst>
              </a:custGeom>
              <a:solidFill>
                <a:srgbClr val="1D1438">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91">
                <a:extLst>
                  <a:ext uri="{FF2B5EF4-FFF2-40B4-BE49-F238E27FC236}">
                    <a16:creationId xmlns:a16="http://schemas.microsoft.com/office/drawing/2014/main" id="{F5C5E639-A356-46BE-837C-C8D8C35FC921}"/>
                  </a:ext>
                </a:extLst>
              </p:cNvPr>
              <p:cNvSpPr>
                <a:spLocks/>
              </p:cNvSpPr>
              <p:nvPr userDrawn="1"/>
            </p:nvSpPr>
            <p:spPr bwMode="auto">
              <a:xfrm>
                <a:off x="5712331" y="4540187"/>
                <a:ext cx="276652" cy="40543"/>
              </a:xfrm>
              <a:custGeom>
                <a:avLst/>
                <a:gdLst>
                  <a:gd name="T0" fmla="*/ 0 w 116"/>
                  <a:gd name="T1" fmla="*/ 0 h 17"/>
                  <a:gd name="T2" fmla="*/ 116 w 116"/>
                  <a:gd name="T3" fmla="*/ 17 h 17"/>
                  <a:gd name="T4" fmla="*/ 66 w 116"/>
                  <a:gd name="T5" fmla="*/ 0 h 17"/>
                  <a:gd name="T6" fmla="*/ 0 w 116"/>
                  <a:gd name="T7" fmla="*/ 0 h 17"/>
                </a:gdLst>
                <a:ahLst/>
                <a:cxnLst>
                  <a:cxn ang="0">
                    <a:pos x="T0" y="T1"/>
                  </a:cxn>
                  <a:cxn ang="0">
                    <a:pos x="T2" y="T3"/>
                  </a:cxn>
                  <a:cxn ang="0">
                    <a:pos x="T4" y="T5"/>
                  </a:cxn>
                  <a:cxn ang="0">
                    <a:pos x="T6" y="T7"/>
                  </a:cxn>
                </a:cxnLst>
                <a:rect l="0" t="0" r="r" b="b"/>
                <a:pathLst>
                  <a:path w="116" h="17">
                    <a:moveTo>
                      <a:pt x="0" y="0"/>
                    </a:moveTo>
                    <a:lnTo>
                      <a:pt x="116" y="17"/>
                    </a:lnTo>
                    <a:lnTo>
                      <a:pt x="66" y="0"/>
                    </a:lnTo>
                    <a:lnTo>
                      <a:pt x="0"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9" name="Freeform 92">
                <a:extLst>
                  <a:ext uri="{FF2B5EF4-FFF2-40B4-BE49-F238E27FC236}">
                    <a16:creationId xmlns:a16="http://schemas.microsoft.com/office/drawing/2014/main" id="{0568C033-62AD-4DF7-92BC-69D27C69F5D0}"/>
                  </a:ext>
                </a:extLst>
              </p:cNvPr>
              <p:cNvSpPr>
                <a:spLocks/>
              </p:cNvSpPr>
              <p:nvPr userDrawn="1"/>
            </p:nvSpPr>
            <p:spPr bwMode="auto">
              <a:xfrm>
                <a:off x="6432581" y="4540187"/>
                <a:ext cx="157405" cy="197949"/>
              </a:xfrm>
              <a:custGeom>
                <a:avLst/>
                <a:gdLst>
                  <a:gd name="T0" fmla="*/ 66 w 66"/>
                  <a:gd name="T1" fmla="*/ 0 h 83"/>
                  <a:gd name="T2" fmla="*/ 33 w 66"/>
                  <a:gd name="T3" fmla="*/ 83 h 83"/>
                  <a:gd name="T4" fmla="*/ 0 w 66"/>
                  <a:gd name="T5" fmla="*/ 0 h 83"/>
                  <a:gd name="T6" fmla="*/ 66 w 66"/>
                  <a:gd name="T7" fmla="*/ 0 h 83"/>
                </a:gdLst>
                <a:ahLst/>
                <a:cxnLst>
                  <a:cxn ang="0">
                    <a:pos x="T0" y="T1"/>
                  </a:cxn>
                  <a:cxn ang="0">
                    <a:pos x="T2" y="T3"/>
                  </a:cxn>
                  <a:cxn ang="0">
                    <a:pos x="T4" y="T5"/>
                  </a:cxn>
                  <a:cxn ang="0">
                    <a:pos x="T6" y="T7"/>
                  </a:cxn>
                </a:cxnLst>
                <a:rect l="0" t="0" r="r" b="b"/>
                <a:pathLst>
                  <a:path w="66" h="83">
                    <a:moveTo>
                      <a:pt x="66" y="0"/>
                    </a:moveTo>
                    <a:lnTo>
                      <a:pt x="33" y="83"/>
                    </a:lnTo>
                    <a:lnTo>
                      <a:pt x="0" y="0"/>
                    </a:lnTo>
                    <a:lnTo>
                      <a:pt x="66" y="0"/>
                    </a:lnTo>
                    <a:close/>
                  </a:path>
                </a:pathLst>
              </a:custGeom>
              <a:gradFill>
                <a:gsLst>
                  <a:gs pos="100000">
                    <a:schemeClr val="accent1"/>
                  </a:gs>
                  <a:gs pos="0">
                    <a:schemeClr val="accent4"/>
                  </a:gs>
                  <a:gs pos="42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0" name="Freeform 93">
                <a:extLst>
                  <a:ext uri="{FF2B5EF4-FFF2-40B4-BE49-F238E27FC236}">
                    <a16:creationId xmlns:a16="http://schemas.microsoft.com/office/drawing/2014/main" id="{37BB66D8-3B81-47E1-95DC-81134FCC5C2A}"/>
                  </a:ext>
                </a:extLst>
              </p:cNvPr>
              <p:cNvSpPr>
                <a:spLocks/>
              </p:cNvSpPr>
              <p:nvPr userDrawn="1"/>
            </p:nvSpPr>
            <p:spPr bwMode="auto">
              <a:xfrm>
                <a:off x="6392036" y="4540187"/>
                <a:ext cx="159791" cy="197949"/>
              </a:xfrm>
              <a:custGeom>
                <a:avLst/>
                <a:gdLst>
                  <a:gd name="T0" fmla="*/ 67 w 67"/>
                  <a:gd name="T1" fmla="*/ 0 h 83"/>
                  <a:gd name="T2" fmla="*/ 33 w 67"/>
                  <a:gd name="T3" fmla="*/ 83 h 83"/>
                  <a:gd name="T4" fmla="*/ 0 w 67"/>
                  <a:gd name="T5" fmla="*/ 0 h 83"/>
                  <a:gd name="T6" fmla="*/ 67 w 67"/>
                  <a:gd name="T7" fmla="*/ 0 h 83"/>
                </a:gdLst>
                <a:ahLst/>
                <a:cxnLst>
                  <a:cxn ang="0">
                    <a:pos x="T0" y="T1"/>
                  </a:cxn>
                  <a:cxn ang="0">
                    <a:pos x="T2" y="T3"/>
                  </a:cxn>
                  <a:cxn ang="0">
                    <a:pos x="T4" y="T5"/>
                  </a:cxn>
                  <a:cxn ang="0">
                    <a:pos x="T6" y="T7"/>
                  </a:cxn>
                </a:cxnLst>
                <a:rect l="0" t="0" r="r" b="b"/>
                <a:pathLst>
                  <a:path w="67" h="83">
                    <a:moveTo>
                      <a:pt x="67" y="0"/>
                    </a:moveTo>
                    <a:lnTo>
                      <a:pt x="33" y="83"/>
                    </a:lnTo>
                    <a:lnTo>
                      <a:pt x="0" y="0"/>
                    </a:lnTo>
                    <a:lnTo>
                      <a:pt x="67" y="0"/>
                    </a:lnTo>
                    <a:close/>
                  </a:path>
                </a:pathLst>
              </a:custGeom>
              <a:solidFill>
                <a:srgbClr val="000000">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1" name="Freeform 94">
                <a:extLst>
                  <a:ext uri="{FF2B5EF4-FFF2-40B4-BE49-F238E27FC236}">
                    <a16:creationId xmlns:a16="http://schemas.microsoft.com/office/drawing/2014/main" id="{C3C889CC-1A6D-4B3B-8990-53257113B1A0}"/>
                  </a:ext>
                </a:extLst>
              </p:cNvPr>
              <p:cNvSpPr>
                <a:spLocks/>
              </p:cNvSpPr>
              <p:nvPr userDrawn="1"/>
            </p:nvSpPr>
            <p:spPr bwMode="auto">
              <a:xfrm>
                <a:off x="5201956" y="4115670"/>
                <a:ext cx="1843553" cy="1352255"/>
              </a:xfrm>
              <a:custGeom>
                <a:avLst/>
                <a:gdLst>
                  <a:gd name="T0" fmla="*/ 386 w 773"/>
                  <a:gd name="T1" fmla="*/ 0 h 567"/>
                  <a:gd name="T2" fmla="*/ 0 w 773"/>
                  <a:gd name="T3" fmla="*/ 567 h 567"/>
                  <a:gd name="T4" fmla="*/ 773 w 773"/>
                  <a:gd name="T5" fmla="*/ 567 h 567"/>
                  <a:gd name="T6" fmla="*/ 386 w 773"/>
                  <a:gd name="T7" fmla="*/ 0 h 567"/>
                </a:gdLst>
                <a:ahLst/>
                <a:cxnLst>
                  <a:cxn ang="0">
                    <a:pos x="T0" y="T1"/>
                  </a:cxn>
                  <a:cxn ang="0">
                    <a:pos x="T2" y="T3"/>
                  </a:cxn>
                  <a:cxn ang="0">
                    <a:pos x="T4" y="T5"/>
                  </a:cxn>
                  <a:cxn ang="0">
                    <a:pos x="T6" y="T7"/>
                  </a:cxn>
                </a:cxnLst>
                <a:rect l="0" t="0" r="r" b="b"/>
                <a:pathLst>
                  <a:path w="773" h="567">
                    <a:moveTo>
                      <a:pt x="386" y="0"/>
                    </a:moveTo>
                    <a:lnTo>
                      <a:pt x="0" y="567"/>
                    </a:lnTo>
                    <a:lnTo>
                      <a:pt x="773" y="567"/>
                    </a:lnTo>
                    <a:lnTo>
                      <a:pt x="386" y="0"/>
                    </a:lnTo>
                    <a:close/>
                  </a:path>
                </a:pathLst>
              </a:custGeom>
              <a:gradFill flip="none" rotWithShape="1">
                <a:gsLst>
                  <a:gs pos="0">
                    <a:schemeClr val="accent4"/>
                  </a:gs>
                  <a:gs pos="35000">
                    <a:schemeClr val="accent3"/>
                  </a:gs>
                  <a:gs pos="100000">
                    <a:schemeClr val="accent1">
                      <a:lumMod val="100000"/>
                    </a:schemeClr>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95">
                <a:extLst>
                  <a:ext uri="{FF2B5EF4-FFF2-40B4-BE49-F238E27FC236}">
                    <a16:creationId xmlns:a16="http://schemas.microsoft.com/office/drawing/2014/main" id="{B390019A-3E82-4429-8804-5737339C62A3}"/>
                  </a:ext>
                </a:extLst>
              </p:cNvPr>
              <p:cNvSpPr>
                <a:spLocks/>
              </p:cNvSpPr>
              <p:nvPr userDrawn="1"/>
            </p:nvSpPr>
            <p:spPr bwMode="auto">
              <a:xfrm>
                <a:off x="5201956" y="4115670"/>
                <a:ext cx="920584" cy="1352255"/>
              </a:xfrm>
              <a:custGeom>
                <a:avLst/>
                <a:gdLst>
                  <a:gd name="T0" fmla="*/ 386 w 386"/>
                  <a:gd name="T1" fmla="*/ 0 h 567"/>
                  <a:gd name="T2" fmla="*/ 0 w 386"/>
                  <a:gd name="T3" fmla="*/ 567 h 567"/>
                  <a:gd name="T4" fmla="*/ 336 w 386"/>
                  <a:gd name="T5" fmla="*/ 567 h 567"/>
                  <a:gd name="T6" fmla="*/ 386 w 386"/>
                  <a:gd name="T7" fmla="*/ 245 h 567"/>
                  <a:gd name="T8" fmla="*/ 386 w 386"/>
                  <a:gd name="T9" fmla="*/ 0 h 567"/>
                </a:gdLst>
                <a:ahLst/>
                <a:cxnLst>
                  <a:cxn ang="0">
                    <a:pos x="T0" y="T1"/>
                  </a:cxn>
                  <a:cxn ang="0">
                    <a:pos x="T2" y="T3"/>
                  </a:cxn>
                  <a:cxn ang="0">
                    <a:pos x="T4" y="T5"/>
                  </a:cxn>
                  <a:cxn ang="0">
                    <a:pos x="T6" y="T7"/>
                  </a:cxn>
                  <a:cxn ang="0">
                    <a:pos x="T8" y="T9"/>
                  </a:cxn>
                </a:cxnLst>
                <a:rect l="0" t="0" r="r" b="b"/>
                <a:pathLst>
                  <a:path w="386" h="567">
                    <a:moveTo>
                      <a:pt x="386" y="0"/>
                    </a:moveTo>
                    <a:lnTo>
                      <a:pt x="0" y="567"/>
                    </a:lnTo>
                    <a:lnTo>
                      <a:pt x="336" y="567"/>
                    </a:lnTo>
                    <a:lnTo>
                      <a:pt x="386" y="245"/>
                    </a:lnTo>
                    <a:lnTo>
                      <a:pt x="386" y="0"/>
                    </a:lnTo>
                    <a:close/>
                  </a:path>
                </a:pathLst>
              </a:custGeom>
              <a:gradFill>
                <a:gsLst>
                  <a:gs pos="98000">
                    <a:schemeClr val="accent1"/>
                  </a:gs>
                  <a:gs pos="40000">
                    <a:schemeClr val="accent3"/>
                  </a:gs>
                  <a:gs pos="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3" name="Freeform 96">
                <a:extLst>
                  <a:ext uri="{FF2B5EF4-FFF2-40B4-BE49-F238E27FC236}">
                    <a16:creationId xmlns:a16="http://schemas.microsoft.com/office/drawing/2014/main" id="{2DA4740F-A693-4269-AB23-458FB071AFCD}"/>
                  </a:ext>
                </a:extLst>
              </p:cNvPr>
              <p:cNvSpPr>
                <a:spLocks/>
              </p:cNvSpPr>
              <p:nvPr userDrawn="1"/>
            </p:nvSpPr>
            <p:spPr bwMode="auto">
              <a:xfrm>
                <a:off x="6122540" y="4115670"/>
                <a:ext cx="922969" cy="1352255"/>
              </a:xfrm>
              <a:custGeom>
                <a:avLst/>
                <a:gdLst>
                  <a:gd name="T0" fmla="*/ 0 w 387"/>
                  <a:gd name="T1" fmla="*/ 0 h 567"/>
                  <a:gd name="T2" fmla="*/ 387 w 387"/>
                  <a:gd name="T3" fmla="*/ 567 h 567"/>
                  <a:gd name="T4" fmla="*/ 52 w 387"/>
                  <a:gd name="T5" fmla="*/ 567 h 567"/>
                  <a:gd name="T6" fmla="*/ 0 w 387"/>
                  <a:gd name="T7" fmla="*/ 245 h 567"/>
                  <a:gd name="T8" fmla="*/ 0 w 387"/>
                  <a:gd name="T9" fmla="*/ 0 h 567"/>
                </a:gdLst>
                <a:ahLst/>
                <a:cxnLst>
                  <a:cxn ang="0">
                    <a:pos x="T0" y="T1"/>
                  </a:cxn>
                  <a:cxn ang="0">
                    <a:pos x="T2" y="T3"/>
                  </a:cxn>
                  <a:cxn ang="0">
                    <a:pos x="T4" y="T5"/>
                  </a:cxn>
                  <a:cxn ang="0">
                    <a:pos x="T6" y="T7"/>
                  </a:cxn>
                  <a:cxn ang="0">
                    <a:pos x="T8" y="T9"/>
                  </a:cxn>
                </a:cxnLst>
                <a:rect l="0" t="0" r="r" b="b"/>
                <a:pathLst>
                  <a:path w="387" h="567">
                    <a:moveTo>
                      <a:pt x="0" y="0"/>
                    </a:moveTo>
                    <a:lnTo>
                      <a:pt x="387" y="567"/>
                    </a:lnTo>
                    <a:lnTo>
                      <a:pt x="52" y="567"/>
                    </a:lnTo>
                    <a:lnTo>
                      <a:pt x="0" y="245"/>
                    </a:lnTo>
                    <a:lnTo>
                      <a:pt x="0" y="0"/>
                    </a:lnTo>
                    <a:close/>
                  </a:path>
                </a:pathLst>
              </a:custGeom>
              <a:gradFill>
                <a:gsLst>
                  <a:gs pos="98000">
                    <a:schemeClr val="accent1"/>
                  </a:gs>
                  <a:gs pos="40000">
                    <a:schemeClr val="accent3"/>
                  </a:gs>
                  <a:gs pos="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54" name="Freeform 97">
                <a:extLst>
                  <a:ext uri="{FF2B5EF4-FFF2-40B4-BE49-F238E27FC236}">
                    <a16:creationId xmlns:a16="http://schemas.microsoft.com/office/drawing/2014/main" id="{41166D6D-0B18-4E5F-956D-0C563C107E39}"/>
                  </a:ext>
                </a:extLst>
              </p:cNvPr>
              <p:cNvSpPr>
                <a:spLocks/>
              </p:cNvSpPr>
              <p:nvPr userDrawn="1"/>
            </p:nvSpPr>
            <p:spPr bwMode="auto">
              <a:xfrm>
                <a:off x="5201956" y="4115670"/>
                <a:ext cx="920584" cy="1352255"/>
              </a:xfrm>
              <a:custGeom>
                <a:avLst/>
                <a:gdLst>
                  <a:gd name="T0" fmla="*/ 386 w 386"/>
                  <a:gd name="T1" fmla="*/ 0 h 567"/>
                  <a:gd name="T2" fmla="*/ 0 w 386"/>
                  <a:gd name="T3" fmla="*/ 567 h 567"/>
                  <a:gd name="T4" fmla="*/ 253 w 386"/>
                  <a:gd name="T5" fmla="*/ 567 h 567"/>
                  <a:gd name="T6" fmla="*/ 386 w 386"/>
                  <a:gd name="T7" fmla="*/ 0 h 567"/>
                </a:gdLst>
                <a:ahLst/>
                <a:cxnLst>
                  <a:cxn ang="0">
                    <a:pos x="T0" y="T1"/>
                  </a:cxn>
                  <a:cxn ang="0">
                    <a:pos x="T2" y="T3"/>
                  </a:cxn>
                  <a:cxn ang="0">
                    <a:pos x="T4" y="T5"/>
                  </a:cxn>
                  <a:cxn ang="0">
                    <a:pos x="T6" y="T7"/>
                  </a:cxn>
                </a:cxnLst>
                <a:rect l="0" t="0" r="r" b="b"/>
                <a:pathLst>
                  <a:path w="386" h="567">
                    <a:moveTo>
                      <a:pt x="386" y="0"/>
                    </a:moveTo>
                    <a:lnTo>
                      <a:pt x="0" y="567"/>
                    </a:lnTo>
                    <a:lnTo>
                      <a:pt x="253" y="567"/>
                    </a:lnTo>
                    <a:lnTo>
                      <a:pt x="386" y="0"/>
                    </a:lnTo>
                    <a:close/>
                  </a:path>
                </a:pathLst>
              </a:custGeom>
              <a:gradFill>
                <a:gsLst>
                  <a:gs pos="98000">
                    <a:schemeClr val="accent1"/>
                  </a:gs>
                  <a:gs pos="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5" name="Freeform 98">
                <a:extLst>
                  <a:ext uri="{FF2B5EF4-FFF2-40B4-BE49-F238E27FC236}">
                    <a16:creationId xmlns:a16="http://schemas.microsoft.com/office/drawing/2014/main" id="{57A441A8-E97A-494C-A143-82CD4BECB6F3}"/>
                  </a:ext>
                </a:extLst>
              </p:cNvPr>
              <p:cNvSpPr>
                <a:spLocks/>
              </p:cNvSpPr>
              <p:nvPr userDrawn="1"/>
            </p:nvSpPr>
            <p:spPr bwMode="auto">
              <a:xfrm>
                <a:off x="5201956" y="4115670"/>
                <a:ext cx="920584" cy="1352255"/>
              </a:xfrm>
              <a:custGeom>
                <a:avLst/>
                <a:gdLst>
                  <a:gd name="T0" fmla="*/ 386 w 386"/>
                  <a:gd name="T1" fmla="*/ 0 h 567"/>
                  <a:gd name="T2" fmla="*/ 0 w 386"/>
                  <a:gd name="T3" fmla="*/ 567 h 567"/>
                  <a:gd name="T4" fmla="*/ 17 w 386"/>
                  <a:gd name="T5" fmla="*/ 567 h 567"/>
                  <a:gd name="T6" fmla="*/ 386 w 386"/>
                  <a:gd name="T7" fmla="*/ 0 h 567"/>
                </a:gdLst>
                <a:ahLst/>
                <a:cxnLst>
                  <a:cxn ang="0">
                    <a:pos x="T0" y="T1"/>
                  </a:cxn>
                  <a:cxn ang="0">
                    <a:pos x="T2" y="T3"/>
                  </a:cxn>
                  <a:cxn ang="0">
                    <a:pos x="T4" y="T5"/>
                  </a:cxn>
                  <a:cxn ang="0">
                    <a:pos x="T6" y="T7"/>
                  </a:cxn>
                </a:cxnLst>
                <a:rect l="0" t="0" r="r" b="b"/>
                <a:pathLst>
                  <a:path w="386" h="567">
                    <a:moveTo>
                      <a:pt x="386" y="0"/>
                    </a:moveTo>
                    <a:lnTo>
                      <a:pt x="0" y="567"/>
                    </a:lnTo>
                    <a:lnTo>
                      <a:pt x="17" y="567"/>
                    </a:lnTo>
                    <a:lnTo>
                      <a:pt x="386" y="0"/>
                    </a:lnTo>
                    <a:close/>
                  </a:path>
                </a:pathLst>
              </a:custGeom>
              <a:gradFill>
                <a:gsLst>
                  <a:gs pos="92000">
                    <a:schemeClr val="accent1"/>
                  </a:gs>
                  <a:gs pos="26000">
                    <a:schemeClr val="accent4"/>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6" name="Freeform 99">
                <a:extLst>
                  <a:ext uri="{FF2B5EF4-FFF2-40B4-BE49-F238E27FC236}">
                    <a16:creationId xmlns:a16="http://schemas.microsoft.com/office/drawing/2014/main" id="{441A3FA2-CCA0-47D7-8C06-23A54D166B63}"/>
                  </a:ext>
                </a:extLst>
              </p:cNvPr>
              <p:cNvSpPr>
                <a:spLocks/>
              </p:cNvSpPr>
              <p:nvPr userDrawn="1"/>
            </p:nvSpPr>
            <p:spPr bwMode="auto">
              <a:xfrm>
                <a:off x="6148773" y="4115670"/>
                <a:ext cx="925354" cy="1352255"/>
              </a:xfrm>
              <a:custGeom>
                <a:avLst/>
                <a:gdLst>
                  <a:gd name="T0" fmla="*/ 0 w 388"/>
                  <a:gd name="T1" fmla="*/ 0 h 567"/>
                  <a:gd name="T2" fmla="*/ 388 w 388"/>
                  <a:gd name="T3" fmla="*/ 567 h 567"/>
                  <a:gd name="T4" fmla="*/ 135 w 388"/>
                  <a:gd name="T5" fmla="*/ 567 h 567"/>
                  <a:gd name="T6" fmla="*/ 0 w 388"/>
                  <a:gd name="T7" fmla="*/ 0 h 567"/>
                </a:gdLst>
                <a:ahLst/>
                <a:cxnLst>
                  <a:cxn ang="0">
                    <a:pos x="T0" y="T1"/>
                  </a:cxn>
                  <a:cxn ang="0">
                    <a:pos x="T2" y="T3"/>
                  </a:cxn>
                  <a:cxn ang="0">
                    <a:pos x="T4" y="T5"/>
                  </a:cxn>
                  <a:cxn ang="0">
                    <a:pos x="T6" y="T7"/>
                  </a:cxn>
                </a:cxnLst>
                <a:rect l="0" t="0" r="r" b="b"/>
                <a:pathLst>
                  <a:path w="388" h="567">
                    <a:moveTo>
                      <a:pt x="0" y="0"/>
                    </a:moveTo>
                    <a:lnTo>
                      <a:pt x="388" y="567"/>
                    </a:lnTo>
                    <a:lnTo>
                      <a:pt x="135" y="567"/>
                    </a:lnTo>
                    <a:lnTo>
                      <a:pt x="0" y="0"/>
                    </a:lnTo>
                    <a:close/>
                  </a:path>
                </a:pathLst>
              </a:custGeom>
              <a:gradFill>
                <a:gsLst>
                  <a:gs pos="98000">
                    <a:schemeClr val="accent1"/>
                  </a:gs>
                  <a:gs pos="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7" name="Freeform 100">
                <a:extLst>
                  <a:ext uri="{FF2B5EF4-FFF2-40B4-BE49-F238E27FC236}">
                    <a16:creationId xmlns:a16="http://schemas.microsoft.com/office/drawing/2014/main" id="{0B986DF5-D3DA-4D54-9402-B163211D99D6}"/>
                  </a:ext>
                </a:extLst>
              </p:cNvPr>
              <p:cNvSpPr>
                <a:spLocks/>
              </p:cNvSpPr>
              <p:nvPr userDrawn="1"/>
            </p:nvSpPr>
            <p:spPr bwMode="auto">
              <a:xfrm>
                <a:off x="6146391" y="4112199"/>
                <a:ext cx="925354" cy="1352255"/>
              </a:xfrm>
              <a:custGeom>
                <a:avLst/>
                <a:gdLst>
                  <a:gd name="T0" fmla="*/ 0 w 388"/>
                  <a:gd name="T1" fmla="*/ 0 h 567"/>
                  <a:gd name="T2" fmla="*/ 388 w 388"/>
                  <a:gd name="T3" fmla="*/ 567 h 567"/>
                  <a:gd name="T4" fmla="*/ 0 w 388"/>
                  <a:gd name="T5" fmla="*/ 567 h 567"/>
                  <a:gd name="T6" fmla="*/ 0 w 388"/>
                  <a:gd name="T7" fmla="*/ 0 h 567"/>
                </a:gdLst>
                <a:ahLst/>
                <a:cxnLst>
                  <a:cxn ang="0">
                    <a:pos x="T0" y="T1"/>
                  </a:cxn>
                  <a:cxn ang="0">
                    <a:pos x="T2" y="T3"/>
                  </a:cxn>
                  <a:cxn ang="0">
                    <a:pos x="T4" y="T5"/>
                  </a:cxn>
                  <a:cxn ang="0">
                    <a:pos x="T6" y="T7"/>
                  </a:cxn>
                </a:cxnLst>
                <a:rect l="0" t="0" r="r" b="b"/>
                <a:pathLst>
                  <a:path w="388" h="567">
                    <a:moveTo>
                      <a:pt x="0" y="0"/>
                    </a:moveTo>
                    <a:lnTo>
                      <a:pt x="388" y="567"/>
                    </a:lnTo>
                    <a:lnTo>
                      <a:pt x="0" y="567"/>
                    </a:lnTo>
                    <a:lnTo>
                      <a:pt x="0" y="0"/>
                    </a:lnTo>
                    <a:close/>
                  </a:path>
                </a:pathLst>
              </a:custGeom>
              <a:solidFill>
                <a:srgbClr val="1D1438">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8" name="Rectangle 101">
                <a:extLst>
                  <a:ext uri="{FF2B5EF4-FFF2-40B4-BE49-F238E27FC236}">
                    <a16:creationId xmlns:a16="http://schemas.microsoft.com/office/drawing/2014/main" id="{A8DF7052-C7B3-4138-A0A1-D30A0D2D82CE}"/>
                  </a:ext>
                </a:extLst>
              </p:cNvPr>
              <p:cNvSpPr>
                <a:spLocks noChangeArrowheads="1"/>
              </p:cNvSpPr>
              <p:nvPr userDrawn="1"/>
            </p:nvSpPr>
            <p:spPr bwMode="auto">
              <a:xfrm>
                <a:off x="5163797" y="5355833"/>
                <a:ext cx="38159" cy="112091"/>
              </a:xfrm>
              <a:prstGeom prst="rect">
                <a:avLst/>
              </a:prstGeom>
              <a:gradFill>
                <a:gsLst>
                  <a:gs pos="95000">
                    <a:schemeClr val="accent1"/>
                  </a:gs>
                  <a:gs pos="20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9" name="Rectangle 102">
                <a:extLst>
                  <a:ext uri="{FF2B5EF4-FFF2-40B4-BE49-F238E27FC236}">
                    <a16:creationId xmlns:a16="http://schemas.microsoft.com/office/drawing/2014/main" id="{B50BA357-AD9D-467C-BC7D-D6F6BAFE71BA}"/>
                  </a:ext>
                </a:extLst>
              </p:cNvPr>
              <p:cNvSpPr>
                <a:spLocks noChangeArrowheads="1"/>
              </p:cNvSpPr>
              <p:nvPr userDrawn="1"/>
            </p:nvSpPr>
            <p:spPr bwMode="auto">
              <a:xfrm>
                <a:off x="7074127" y="5355833"/>
                <a:ext cx="38159" cy="112091"/>
              </a:xfrm>
              <a:prstGeom prst="rect">
                <a:avLst/>
              </a:prstGeom>
              <a:gradFill>
                <a:gsLst>
                  <a:gs pos="95000">
                    <a:schemeClr val="accent1"/>
                  </a:gs>
                  <a:gs pos="20000">
                    <a:schemeClr val="accent3"/>
                  </a:gs>
                </a:gsLst>
                <a:lin ang="5400000" scaled="0"/>
              </a:gradFill>
              <a:ln>
                <a:noFill/>
              </a:ln>
            </p:spPr>
            <p:txBody>
              <a:bodyPr vert="horz" wrap="square" lIns="91440" tIns="45720" rIns="91440" bIns="45720" numCol="1" anchor="t" anchorCtr="0" compatLnSpc="1">
                <a:prstTxWarp prst="textNoShape">
                  <a:avLst/>
                </a:prstTxWarp>
              </a:bodyPr>
              <a:lstStyle/>
              <a:p>
                <a:endParaRPr lang="zh-CN" altLang="en-US"/>
              </a:p>
            </p:txBody>
          </p:sp>
        </p:grpSp>
      </p:grpSp>
      <p:sp>
        <p:nvSpPr>
          <p:cNvPr id="13" name="标题 1"/>
          <p:cNvSpPr>
            <a:spLocks noGrp="1"/>
          </p:cNvSpPr>
          <p:nvPr userDrawn="1">
            <p:ph type="ctrTitle" hasCustomPrompt="1"/>
          </p:nvPr>
        </p:nvSpPr>
        <p:spPr>
          <a:xfrm>
            <a:off x="3382962" y="1249427"/>
            <a:ext cx="5426076" cy="1621509"/>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82962" y="3555663"/>
            <a:ext cx="5426076"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3382963" y="3259391"/>
            <a:ext cx="5426076" cy="296271"/>
          </a:xfrm>
        </p:spPr>
        <p:txBody>
          <a:bodyPr vert="horz" anchor="ctr">
            <a:noAutofit/>
          </a:bodyPr>
          <a:lstStyle>
            <a:lvl1pPr marL="0" indent="0" algn="ctr">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4/6/15</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zh-CN" altLang="en-US" dirty="0"/>
              <a:t>卡牌类</a:t>
            </a:r>
            <a:r>
              <a:rPr lang="en-US" altLang="zh-CN" dirty="0"/>
              <a:t>Roguelike</a:t>
            </a:r>
            <a:r>
              <a:rPr lang="zh-CN" altLang="en-US" dirty="0"/>
              <a:t>游戏</a:t>
            </a:r>
            <a:endParaRPr lang="en-US" altLang="zh-CN" dirty="0"/>
          </a:p>
        </p:txBody>
      </p:sp>
      <p:sp>
        <p:nvSpPr>
          <p:cNvPr id="4" name="标题 3"/>
          <p:cNvSpPr>
            <a:spLocks noGrp="1"/>
          </p:cNvSpPr>
          <p:nvPr>
            <p:ph type="ctrTitle"/>
          </p:nvPr>
        </p:nvSpPr>
        <p:spPr/>
        <p:txBody>
          <a:bodyPr/>
          <a:lstStyle/>
          <a:p>
            <a:r>
              <a:rPr lang="zh-CN" altLang="en-US" dirty="0"/>
              <a:t>地牢勇士</a:t>
            </a:r>
          </a:p>
        </p:txBody>
      </p:sp>
      <p:sp>
        <p:nvSpPr>
          <p:cNvPr id="6" name="文本占位符 5"/>
          <p:cNvSpPr>
            <a:spLocks noGrp="1"/>
          </p:cNvSpPr>
          <p:nvPr>
            <p:ph type="body" sz="quarter" idx="10"/>
          </p:nvPr>
        </p:nvSpPr>
        <p:spPr/>
        <p:txBody>
          <a:bodyPr/>
          <a:lstStyle/>
          <a:p>
            <a:r>
              <a:rPr lang="zh-CN" altLang="en-US" dirty="0"/>
              <a:t>第十一组  展翼飞  季奕丞  王博豪  郑璐辰  李伦</a:t>
            </a:r>
            <a:endParaRPr lang="en-US" altLang="zh-CN" dirty="0"/>
          </a:p>
        </p:txBody>
      </p:sp>
      <p:sp>
        <p:nvSpPr>
          <p:cNvPr id="9" name="文本占位符 8">
            <a:extLst>
              <a:ext uri="{FF2B5EF4-FFF2-40B4-BE49-F238E27FC236}">
                <a16:creationId xmlns:a16="http://schemas.microsoft.com/office/drawing/2014/main" id="{EDF78044-4DB3-2D69-D718-AB3C328BEEB2}"/>
              </a:ext>
            </a:extLst>
          </p:cNvPr>
          <p:cNvSpPr>
            <a:spLocks noGrp="1"/>
          </p:cNvSpPr>
          <p:nvPr>
            <p:ph type="body" sz="quarter" idx="11"/>
          </p:nvPr>
        </p:nvSpPr>
        <p:spPr/>
        <p:txBody>
          <a:bodyPr/>
          <a:lstStyle/>
          <a:p>
            <a:r>
              <a:rPr lang="en-US" altLang="zh-CN" dirty="0"/>
              <a:t>2024.6.16</a:t>
            </a:r>
            <a:endParaRPr lang="zh-CN" altLang="en-US" dirty="0"/>
          </a:p>
        </p:txBody>
      </p:sp>
    </p:spTree>
    <p:extLst>
      <p:ext uri="{BB962C8B-B14F-4D97-AF65-F5344CB8AC3E}">
        <p14:creationId xmlns:p14="http://schemas.microsoft.com/office/powerpoint/2010/main" val="22717418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D85C3A-885A-413C-A2C1-7529EF9881F5}"/>
              </a:ext>
            </a:extLst>
          </p:cNvPr>
          <p:cNvSpPr>
            <a:spLocks noGrp="1"/>
          </p:cNvSpPr>
          <p:nvPr>
            <p:ph type="title"/>
          </p:nvPr>
        </p:nvSpPr>
        <p:spPr/>
        <p:txBody>
          <a:bodyPr/>
          <a:lstStyle/>
          <a:p>
            <a:r>
              <a:rPr lang="en-US" altLang="zh-CN" dirty="0"/>
              <a:t>UI</a:t>
            </a:r>
            <a:r>
              <a:rPr lang="zh-CN" altLang="en-US" dirty="0"/>
              <a:t>管理系统</a:t>
            </a:r>
          </a:p>
        </p:txBody>
      </p:sp>
      <p:sp>
        <p:nvSpPr>
          <p:cNvPr id="4" name="灯片编号占位符 3">
            <a:extLst>
              <a:ext uri="{FF2B5EF4-FFF2-40B4-BE49-F238E27FC236}">
                <a16:creationId xmlns:a16="http://schemas.microsoft.com/office/drawing/2014/main" id="{CEAA3AF8-D39A-467A-A816-34D1131D8EE5}"/>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grpSp>
        <p:nvGrpSpPr>
          <p:cNvPr id="5" name="4f9b76c4-aece-4de7-a5b9-9199462f377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274C37D-137F-4095-912A-8B388FBD3B2E}"/>
              </a:ext>
            </a:extLst>
          </p:cNvPr>
          <p:cNvGrpSpPr>
            <a:grpSpLocks noChangeAspect="1"/>
          </p:cNvGrpSpPr>
          <p:nvPr>
            <p:custDataLst>
              <p:tags r:id="rId1"/>
            </p:custDataLst>
          </p:nvPr>
        </p:nvGrpSpPr>
        <p:grpSpPr>
          <a:xfrm>
            <a:off x="762343" y="1179000"/>
            <a:ext cx="9929680" cy="4799593"/>
            <a:chOff x="762343" y="1179000"/>
            <a:chExt cx="9929680" cy="4799593"/>
          </a:xfrm>
        </p:grpSpPr>
        <p:sp>
          <p:nvSpPr>
            <p:cNvPr id="6" name="isḻídê">
              <a:extLst>
                <a:ext uri="{FF2B5EF4-FFF2-40B4-BE49-F238E27FC236}">
                  <a16:creationId xmlns:a16="http://schemas.microsoft.com/office/drawing/2014/main" id="{CFF60C48-10E6-4576-B53C-5518F6C9BE80}"/>
                </a:ext>
              </a:extLst>
            </p:cNvPr>
            <p:cNvSpPr/>
            <p:nvPr/>
          </p:nvSpPr>
          <p:spPr>
            <a:xfrm rot="19200000">
              <a:off x="6739587" y="3019660"/>
              <a:ext cx="1686644" cy="1674450"/>
            </a:xfrm>
            <a:custGeom>
              <a:avLst/>
              <a:gdLst>
                <a:gd name="connsiteX0" fmla="*/ 2094610 w 2932774"/>
                <a:gd name="connsiteY0" fmla="*/ 749566 h 2911576"/>
                <a:gd name="connsiteX1" fmla="*/ 725074 w 2932774"/>
                <a:gd name="connsiteY1" fmla="*/ 869385 h 2911576"/>
                <a:gd name="connsiteX2" fmla="*/ 844892 w 2932774"/>
                <a:gd name="connsiteY2" fmla="*/ 2238922 h 2911576"/>
                <a:gd name="connsiteX3" fmla="*/ 2214429 w 2932774"/>
                <a:gd name="connsiteY3" fmla="*/ 2119103 h 2911576"/>
                <a:gd name="connsiteX4" fmla="*/ 2094610 w 2932774"/>
                <a:gd name="connsiteY4" fmla="*/ 749566 h 2911576"/>
                <a:gd name="connsiteX5" fmla="*/ 2334142 w 2932774"/>
                <a:gd name="connsiteY5" fmla="*/ 298936 h 2911576"/>
                <a:gd name="connsiteX6" fmla="*/ 2489223 w 2932774"/>
                <a:gd name="connsiteY6" fmla="*/ 429064 h 2911576"/>
                <a:gd name="connsiteX7" fmla="*/ 2320667 w 2932774"/>
                <a:gd name="connsiteY7" fmla="*/ 742363 h 2911576"/>
                <a:gd name="connsiteX8" fmla="*/ 2354461 w 2932774"/>
                <a:gd name="connsiteY8" fmla="*/ 777201 h 2911576"/>
                <a:gd name="connsiteX9" fmla="*/ 2535311 w 2932774"/>
                <a:gd name="connsiteY9" fmla="*/ 1114855 h 2911576"/>
                <a:gd name="connsiteX10" fmla="*/ 2536967 w 2932774"/>
                <a:gd name="connsiteY10" fmla="*/ 1121826 h 2911576"/>
                <a:gd name="connsiteX11" fmla="*/ 2897593 w 2932774"/>
                <a:gd name="connsiteY11" fmla="*/ 1132603 h 2911576"/>
                <a:gd name="connsiteX12" fmla="*/ 2932774 w 2932774"/>
                <a:gd name="connsiteY12" fmla="*/ 1331966 h 2911576"/>
                <a:gd name="connsiteX13" fmla="*/ 2590256 w 2932774"/>
                <a:gd name="connsiteY13" fmla="*/ 1468461 h 2911576"/>
                <a:gd name="connsiteX14" fmla="*/ 2591629 w 2932774"/>
                <a:gd name="connsiteY14" fmla="*/ 1489431 h 2911576"/>
                <a:gd name="connsiteX15" fmla="*/ 2520747 w 2932774"/>
                <a:gd name="connsiteY15" fmla="*/ 1866501 h 2911576"/>
                <a:gd name="connsiteX16" fmla="*/ 2514437 w 2932774"/>
                <a:gd name="connsiteY16" fmla="*/ 1879930 h 2911576"/>
                <a:gd name="connsiteX17" fmla="*/ 2803260 w 2932774"/>
                <a:gd name="connsiteY17" fmla="*/ 2137440 h 2911576"/>
                <a:gd name="connsiteX18" fmla="*/ 2702039 w 2932774"/>
                <a:gd name="connsiteY18" fmla="*/ 2312761 h 2911576"/>
                <a:gd name="connsiteX19" fmla="*/ 2334283 w 2932774"/>
                <a:gd name="connsiteY19" fmla="*/ 2191277 h 2911576"/>
                <a:gd name="connsiteX20" fmla="*/ 2319995 w 2932774"/>
                <a:gd name="connsiteY20" fmla="*/ 2211637 h 2911576"/>
                <a:gd name="connsiteX21" fmla="*/ 2062648 w 2932774"/>
                <a:gd name="connsiteY21" fmla="*/ 2439877 h 2911576"/>
                <a:gd name="connsiteX22" fmla="*/ 2003075 w 2932774"/>
                <a:gd name="connsiteY22" fmla="*/ 2474637 h 2911576"/>
                <a:gd name="connsiteX23" fmla="*/ 2056587 w 2932774"/>
                <a:gd name="connsiteY23" fmla="*/ 2842337 h 2911576"/>
                <a:gd name="connsiteX24" fmla="*/ 1866354 w 2932774"/>
                <a:gd name="connsiteY24" fmla="*/ 2911576 h 2911576"/>
                <a:gd name="connsiteX25" fmla="*/ 1671448 w 2932774"/>
                <a:gd name="connsiteY25" fmla="*/ 2596242 h 2911576"/>
                <a:gd name="connsiteX26" fmla="*/ 1548242 w 2932774"/>
                <a:gd name="connsiteY26" fmla="*/ 2620265 h 2911576"/>
                <a:gd name="connsiteX27" fmla="*/ 1331260 w 2932774"/>
                <a:gd name="connsiteY27" fmla="*/ 2620591 h 2911576"/>
                <a:gd name="connsiteX28" fmla="*/ 1231810 w 2932774"/>
                <a:gd name="connsiteY28" fmla="*/ 2601211 h 2911576"/>
                <a:gd name="connsiteX29" fmla="*/ 1049067 w 2932774"/>
                <a:gd name="connsiteY29" fmla="*/ 2896869 h 2911576"/>
                <a:gd name="connsiteX30" fmla="*/ 858832 w 2932774"/>
                <a:gd name="connsiteY30" fmla="*/ 2827631 h 2911576"/>
                <a:gd name="connsiteX31" fmla="*/ 907780 w 2932774"/>
                <a:gd name="connsiteY31" fmla="*/ 2491308 h 2911576"/>
                <a:gd name="connsiteX32" fmla="*/ 816874 w 2932774"/>
                <a:gd name="connsiteY32" fmla="*/ 2436359 h 2911576"/>
                <a:gd name="connsiteX33" fmla="*/ 725221 w 2932774"/>
                <a:gd name="connsiteY33" fmla="*/ 2367165 h 2911576"/>
                <a:gd name="connsiteX34" fmla="*/ 641163 w 2932774"/>
                <a:gd name="connsiteY34" fmla="*/ 2288921 h 2911576"/>
                <a:gd name="connsiteX35" fmla="*/ 574277 w 2932774"/>
                <a:gd name="connsiteY35" fmla="*/ 2212385 h 2911576"/>
                <a:gd name="connsiteX36" fmla="*/ 268562 w 2932774"/>
                <a:gd name="connsiteY36" fmla="*/ 2313374 h 2911576"/>
                <a:gd name="connsiteX37" fmla="*/ 167340 w 2932774"/>
                <a:gd name="connsiteY37" fmla="*/ 2138053 h 2911576"/>
                <a:gd name="connsiteX38" fmla="*/ 411251 w 2932774"/>
                <a:gd name="connsiteY38" fmla="*/ 1920587 h 2911576"/>
                <a:gd name="connsiteX39" fmla="*/ 370408 w 2932774"/>
                <a:gd name="connsiteY39" fmla="*/ 1814340 h 2911576"/>
                <a:gd name="connsiteX40" fmla="*/ 330144 w 2932774"/>
                <a:gd name="connsiteY40" fmla="*/ 1546283 h 2911576"/>
                <a:gd name="connsiteX41" fmla="*/ 333010 w 2932774"/>
                <a:gd name="connsiteY41" fmla="*/ 1450313 h 2911576"/>
                <a:gd name="connsiteX42" fmla="*/ 0 w 2932774"/>
                <a:gd name="connsiteY42" fmla="*/ 1317659 h 2911576"/>
                <a:gd name="connsiteX43" fmla="*/ 35154 w 2932774"/>
                <a:gd name="connsiteY43" fmla="*/ 1118292 h 2911576"/>
                <a:gd name="connsiteX44" fmla="*/ 405289 w 2932774"/>
                <a:gd name="connsiteY44" fmla="*/ 1107180 h 2911576"/>
                <a:gd name="connsiteX45" fmla="*/ 444695 w 2932774"/>
                <a:gd name="connsiteY45" fmla="*/ 1011372 h 2911576"/>
                <a:gd name="connsiteX46" fmla="*/ 601458 w 2932774"/>
                <a:gd name="connsiteY46" fmla="*/ 769611 h 2911576"/>
                <a:gd name="connsiteX47" fmla="*/ 622589 w 2932774"/>
                <a:gd name="connsiteY47" fmla="*/ 747913 h 2911576"/>
                <a:gd name="connsiteX48" fmla="*/ 446039 w 2932774"/>
                <a:gd name="connsiteY48" fmla="*/ 419756 h 2911576"/>
                <a:gd name="connsiteX49" fmla="*/ 601120 w 2932774"/>
                <a:gd name="connsiteY49" fmla="*/ 289627 h 2911576"/>
                <a:gd name="connsiteX50" fmla="*/ 894887 w 2932774"/>
                <a:gd name="connsiteY50" fmla="*/ 521468 h 2911576"/>
                <a:gd name="connsiteX51" fmla="*/ 1005061 w 2932774"/>
                <a:gd name="connsiteY51" fmla="*/ 460695 h 2911576"/>
                <a:gd name="connsiteX52" fmla="*/ 1159434 w 2932774"/>
                <a:gd name="connsiteY52" fmla="*/ 402668 h 2911576"/>
                <a:gd name="connsiteX53" fmla="*/ 1288857 w 2932774"/>
                <a:gd name="connsiteY53" fmla="*/ 377431 h 2911576"/>
                <a:gd name="connsiteX54" fmla="*/ 1367154 w 2932774"/>
                <a:gd name="connsiteY54" fmla="*/ 0 h 2911576"/>
                <a:gd name="connsiteX55" fmla="*/ 1569597 w 2932774"/>
                <a:gd name="connsiteY55" fmla="*/ 0 h 2911576"/>
                <a:gd name="connsiteX56" fmla="*/ 1646698 w 2932774"/>
                <a:gd name="connsiteY56" fmla="*/ 371669 h 2911576"/>
                <a:gd name="connsiteX57" fmla="*/ 1803965 w 2932774"/>
                <a:gd name="connsiteY57" fmla="*/ 402316 h 2911576"/>
                <a:gd name="connsiteX58" fmla="*/ 2008116 w 2932774"/>
                <a:gd name="connsiteY58" fmla="*/ 486582 h 2911576"/>
                <a:gd name="connsiteX59" fmla="*/ 2055596 w 2932774"/>
                <a:gd name="connsiteY59" fmla="*/ 518765 h 291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932774" h="2911576">
                  <a:moveTo>
                    <a:pt x="2094610" y="749566"/>
                  </a:moveTo>
                  <a:cubicBezTo>
                    <a:pt x="1683337" y="404466"/>
                    <a:pt x="1070173" y="458111"/>
                    <a:pt x="725074" y="869385"/>
                  </a:cubicBezTo>
                  <a:cubicBezTo>
                    <a:pt x="379974" y="1280659"/>
                    <a:pt x="433619" y="1893822"/>
                    <a:pt x="844892" y="2238922"/>
                  </a:cubicBezTo>
                  <a:cubicBezTo>
                    <a:pt x="1256166" y="2584021"/>
                    <a:pt x="1869330" y="2530377"/>
                    <a:pt x="2214429" y="2119103"/>
                  </a:cubicBezTo>
                  <a:cubicBezTo>
                    <a:pt x="2559529" y="1707829"/>
                    <a:pt x="2505884" y="1094665"/>
                    <a:pt x="2094610" y="749566"/>
                  </a:cubicBezTo>
                  <a:close/>
                  <a:moveTo>
                    <a:pt x="2334142" y="298936"/>
                  </a:moveTo>
                  <a:lnTo>
                    <a:pt x="2489223" y="429064"/>
                  </a:lnTo>
                  <a:lnTo>
                    <a:pt x="2320667" y="742363"/>
                  </a:lnTo>
                  <a:lnTo>
                    <a:pt x="2354461" y="777201"/>
                  </a:lnTo>
                  <a:cubicBezTo>
                    <a:pt x="2435203" y="879773"/>
                    <a:pt x="2495636" y="994236"/>
                    <a:pt x="2535311" y="1114855"/>
                  </a:cubicBezTo>
                  <a:lnTo>
                    <a:pt x="2536967" y="1121826"/>
                  </a:lnTo>
                  <a:lnTo>
                    <a:pt x="2897593" y="1132603"/>
                  </a:lnTo>
                  <a:lnTo>
                    <a:pt x="2932774" y="1331966"/>
                  </a:lnTo>
                  <a:lnTo>
                    <a:pt x="2590256" y="1468461"/>
                  </a:lnTo>
                  <a:lnTo>
                    <a:pt x="2591629" y="1489431"/>
                  </a:lnTo>
                  <a:cubicBezTo>
                    <a:pt x="2589349" y="1616619"/>
                    <a:pt x="2565870" y="1744223"/>
                    <a:pt x="2520747" y="1866501"/>
                  </a:cubicBezTo>
                  <a:lnTo>
                    <a:pt x="2514437" y="1879930"/>
                  </a:lnTo>
                  <a:lnTo>
                    <a:pt x="2803260" y="2137440"/>
                  </a:lnTo>
                  <a:lnTo>
                    <a:pt x="2702039" y="2312761"/>
                  </a:lnTo>
                  <a:lnTo>
                    <a:pt x="2334283" y="2191277"/>
                  </a:lnTo>
                  <a:lnTo>
                    <a:pt x="2319995" y="2211637"/>
                  </a:lnTo>
                  <a:cubicBezTo>
                    <a:pt x="2243832" y="2302406"/>
                    <a:pt x="2156847" y="2378603"/>
                    <a:pt x="2062648" y="2439877"/>
                  </a:cubicBezTo>
                  <a:lnTo>
                    <a:pt x="2003075" y="2474637"/>
                  </a:lnTo>
                  <a:lnTo>
                    <a:pt x="2056587" y="2842337"/>
                  </a:lnTo>
                  <a:lnTo>
                    <a:pt x="1866354" y="2911576"/>
                  </a:lnTo>
                  <a:lnTo>
                    <a:pt x="1671448" y="2596242"/>
                  </a:lnTo>
                  <a:lnTo>
                    <a:pt x="1548242" y="2620265"/>
                  </a:lnTo>
                  <a:cubicBezTo>
                    <a:pt x="1476091" y="2627302"/>
                    <a:pt x="1403408" y="2627445"/>
                    <a:pt x="1331260" y="2620591"/>
                  </a:cubicBezTo>
                  <a:lnTo>
                    <a:pt x="1231810" y="2601211"/>
                  </a:lnTo>
                  <a:lnTo>
                    <a:pt x="1049067" y="2896869"/>
                  </a:lnTo>
                  <a:lnTo>
                    <a:pt x="858832" y="2827631"/>
                  </a:lnTo>
                  <a:lnTo>
                    <a:pt x="907780" y="2491308"/>
                  </a:lnTo>
                  <a:lnTo>
                    <a:pt x="816874" y="2436359"/>
                  </a:lnTo>
                  <a:cubicBezTo>
                    <a:pt x="785477" y="2415113"/>
                    <a:pt x="754881" y="2392053"/>
                    <a:pt x="725221" y="2367165"/>
                  </a:cubicBezTo>
                  <a:cubicBezTo>
                    <a:pt x="695562" y="2342277"/>
                    <a:pt x="667538" y="2316150"/>
                    <a:pt x="641163" y="2288921"/>
                  </a:cubicBezTo>
                  <a:lnTo>
                    <a:pt x="574277" y="2212385"/>
                  </a:lnTo>
                  <a:lnTo>
                    <a:pt x="268562" y="2313374"/>
                  </a:lnTo>
                  <a:lnTo>
                    <a:pt x="167340" y="2138053"/>
                  </a:lnTo>
                  <a:lnTo>
                    <a:pt x="411251" y="1920587"/>
                  </a:lnTo>
                  <a:lnTo>
                    <a:pt x="370408" y="1814340"/>
                  </a:lnTo>
                  <a:cubicBezTo>
                    <a:pt x="346310" y="1727013"/>
                    <a:pt x="332834" y="1636964"/>
                    <a:pt x="330144" y="1546283"/>
                  </a:cubicBezTo>
                  <a:lnTo>
                    <a:pt x="333010" y="1450313"/>
                  </a:lnTo>
                  <a:lnTo>
                    <a:pt x="0" y="1317659"/>
                  </a:lnTo>
                  <a:lnTo>
                    <a:pt x="35154" y="1118292"/>
                  </a:lnTo>
                  <a:lnTo>
                    <a:pt x="405289" y="1107180"/>
                  </a:lnTo>
                  <a:lnTo>
                    <a:pt x="444695" y="1011372"/>
                  </a:lnTo>
                  <a:cubicBezTo>
                    <a:pt x="485787" y="926536"/>
                    <a:pt x="537987" y="845252"/>
                    <a:pt x="601458" y="769611"/>
                  </a:cubicBezTo>
                  <a:lnTo>
                    <a:pt x="622589" y="747913"/>
                  </a:lnTo>
                  <a:lnTo>
                    <a:pt x="446039" y="419756"/>
                  </a:lnTo>
                  <a:lnTo>
                    <a:pt x="601120" y="289627"/>
                  </a:lnTo>
                  <a:lnTo>
                    <a:pt x="894887" y="521468"/>
                  </a:lnTo>
                  <a:lnTo>
                    <a:pt x="1005061" y="460695"/>
                  </a:lnTo>
                  <a:cubicBezTo>
                    <a:pt x="1055317" y="437563"/>
                    <a:pt x="1106924" y="418206"/>
                    <a:pt x="1159434" y="402668"/>
                  </a:cubicBezTo>
                  <a:lnTo>
                    <a:pt x="1288857" y="377431"/>
                  </a:lnTo>
                  <a:lnTo>
                    <a:pt x="1367154" y="0"/>
                  </a:lnTo>
                  <a:lnTo>
                    <a:pt x="1569597" y="0"/>
                  </a:lnTo>
                  <a:lnTo>
                    <a:pt x="1646698" y="371669"/>
                  </a:lnTo>
                  <a:lnTo>
                    <a:pt x="1803965" y="402316"/>
                  </a:lnTo>
                  <a:cubicBezTo>
                    <a:pt x="1873976" y="423270"/>
                    <a:pt x="1942381" y="451323"/>
                    <a:pt x="2008116" y="486582"/>
                  </a:cubicBezTo>
                  <a:lnTo>
                    <a:pt x="2055596" y="51876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Autofit/>
            </a:bodyPr>
            <a:lstStyle/>
            <a:p>
              <a:pPr algn="ctr"/>
              <a:endParaRPr lang="zh-CN" altLang="en-US">
                <a:solidFill>
                  <a:prstClr val="white"/>
                </a:solidFill>
              </a:endParaRPr>
            </a:p>
          </p:txBody>
        </p:sp>
        <p:sp>
          <p:nvSpPr>
            <p:cNvPr id="7" name="îSlîḓe">
              <a:extLst>
                <a:ext uri="{FF2B5EF4-FFF2-40B4-BE49-F238E27FC236}">
                  <a16:creationId xmlns:a16="http://schemas.microsoft.com/office/drawing/2014/main" id="{250DA847-560E-4987-9FED-533673853514}"/>
                </a:ext>
              </a:extLst>
            </p:cNvPr>
            <p:cNvSpPr/>
            <p:nvPr/>
          </p:nvSpPr>
          <p:spPr>
            <a:xfrm rot="19200000">
              <a:off x="7859983" y="2034000"/>
              <a:ext cx="1354287" cy="1344498"/>
            </a:xfrm>
            <a:custGeom>
              <a:avLst/>
              <a:gdLst>
                <a:gd name="connsiteX0" fmla="*/ 2094610 w 2932774"/>
                <a:gd name="connsiteY0" fmla="*/ 749566 h 2911576"/>
                <a:gd name="connsiteX1" fmla="*/ 725074 w 2932774"/>
                <a:gd name="connsiteY1" fmla="*/ 869385 h 2911576"/>
                <a:gd name="connsiteX2" fmla="*/ 844892 w 2932774"/>
                <a:gd name="connsiteY2" fmla="*/ 2238922 h 2911576"/>
                <a:gd name="connsiteX3" fmla="*/ 2214429 w 2932774"/>
                <a:gd name="connsiteY3" fmla="*/ 2119103 h 2911576"/>
                <a:gd name="connsiteX4" fmla="*/ 2094610 w 2932774"/>
                <a:gd name="connsiteY4" fmla="*/ 749566 h 2911576"/>
                <a:gd name="connsiteX5" fmla="*/ 2334142 w 2932774"/>
                <a:gd name="connsiteY5" fmla="*/ 298936 h 2911576"/>
                <a:gd name="connsiteX6" fmla="*/ 2489223 w 2932774"/>
                <a:gd name="connsiteY6" fmla="*/ 429064 h 2911576"/>
                <a:gd name="connsiteX7" fmla="*/ 2320667 w 2932774"/>
                <a:gd name="connsiteY7" fmla="*/ 742363 h 2911576"/>
                <a:gd name="connsiteX8" fmla="*/ 2354461 w 2932774"/>
                <a:gd name="connsiteY8" fmla="*/ 777201 h 2911576"/>
                <a:gd name="connsiteX9" fmla="*/ 2535311 w 2932774"/>
                <a:gd name="connsiteY9" fmla="*/ 1114855 h 2911576"/>
                <a:gd name="connsiteX10" fmla="*/ 2536967 w 2932774"/>
                <a:gd name="connsiteY10" fmla="*/ 1121826 h 2911576"/>
                <a:gd name="connsiteX11" fmla="*/ 2897593 w 2932774"/>
                <a:gd name="connsiteY11" fmla="*/ 1132603 h 2911576"/>
                <a:gd name="connsiteX12" fmla="*/ 2932774 w 2932774"/>
                <a:gd name="connsiteY12" fmla="*/ 1331966 h 2911576"/>
                <a:gd name="connsiteX13" fmla="*/ 2590256 w 2932774"/>
                <a:gd name="connsiteY13" fmla="*/ 1468461 h 2911576"/>
                <a:gd name="connsiteX14" fmla="*/ 2591629 w 2932774"/>
                <a:gd name="connsiteY14" fmla="*/ 1489431 h 2911576"/>
                <a:gd name="connsiteX15" fmla="*/ 2520747 w 2932774"/>
                <a:gd name="connsiteY15" fmla="*/ 1866501 h 2911576"/>
                <a:gd name="connsiteX16" fmla="*/ 2514437 w 2932774"/>
                <a:gd name="connsiteY16" fmla="*/ 1879930 h 2911576"/>
                <a:gd name="connsiteX17" fmla="*/ 2803260 w 2932774"/>
                <a:gd name="connsiteY17" fmla="*/ 2137440 h 2911576"/>
                <a:gd name="connsiteX18" fmla="*/ 2702039 w 2932774"/>
                <a:gd name="connsiteY18" fmla="*/ 2312761 h 2911576"/>
                <a:gd name="connsiteX19" fmla="*/ 2334283 w 2932774"/>
                <a:gd name="connsiteY19" fmla="*/ 2191277 h 2911576"/>
                <a:gd name="connsiteX20" fmla="*/ 2319995 w 2932774"/>
                <a:gd name="connsiteY20" fmla="*/ 2211637 h 2911576"/>
                <a:gd name="connsiteX21" fmla="*/ 2062648 w 2932774"/>
                <a:gd name="connsiteY21" fmla="*/ 2439877 h 2911576"/>
                <a:gd name="connsiteX22" fmla="*/ 2003075 w 2932774"/>
                <a:gd name="connsiteY22" fmla="*/ 2474637 h 2911576"/>
                <a:gd name="connsiteX23" fmla="*/ 2056587 w 2932774"/>
                <a:gd name="connsiteY23" fmla="*/ 2842337 h 2911576"/>
                <a:gd name="connsiteX24" fmla="*/ 1866354 w 2932774"/>
                <a:gd name="connsiteY24" fmla="*/ 2911576 h 2911576"/>
                <a:gd name="connsiteX25" fmla="*/ 1671448 w 2932774"/>
                <a:gd name="connsiteY25" fmla="*/ 2596242 h 2911576"/>
                <a:gd name="connsiteX26" fmla="*/ 1548242 w 2932774"/>
                <a:gd name="connsiteY26" fmla="*/ 2620265 h 2911576"/>
                <a:gd name="connsiteX27" fmla="*/ 1331260 w 2932774"/>
                <a:gd name="connsiteY27" fmla="*/ 2620591 h 2911576"/>
                <a:gd name="connsiteX28" fmla="*/ 1231810 w 2932774"/>
                <a:gd name="connsiteY28" fmla="*/ 2601211 h 2911576"/>
                <a:gd name="connsiteX29" fmla="*/ 1049067 w 2932774"/>
                <a:gd name="connsiteY29" fmla="*/ 2896869 h 2911576"/>
                <a:gd name="connsiteX30" fmla="*/ 858832 w 2932774"/>
                <a:gd name="connsiteY30" fmla="*/ 2827631 h 2911576"/>
                <a:gd name="connsiteX31" fmla="*/ 907780 w 2932774"/>
                <a:gd name="connsiteY31" fmla="*/ 2491308 h 2911576"/>
                <a:gd name="connsiteX32" fmla="*/ 816874 w 2932774"/>
                <a:gd name="connsiteY32" fmla="*/ 2436359 h 2911576"/>
                <a:gd name="connsiteX33" fmla="*/ 725221 w 2932774"/>
                <a:gd name="connsiteY33" fmla="*/ 2367165 h 2911576"/>
                <a:gd name="connsiteX34" fmla="*/ 641163 w 2932774"/>
                <a:gd name="connsiteY34" fmla="*/ 2288921 h 2911576"/>
                <a:gd name="connsiteX35" fmla="*/ 574277 w 2932774"/>
                <a:gd name="connsiteY35" fmla="*/ 2212385 h 2911576"/>
                <a:gd name="connsiteX36" fmla="*/ 268562 w 2932774"/>
                <a:gd name="connsiteY36" fmla="*/ 2313374 h 2911576"/>
                <a:gd name="connsiteX37" fmla="*/ 167340 w 2932774"/>
                <a:gd name="connsiteY37" fmla="*/ 2138053 h 2911576"/>
                <a:gd name="connsiteX38" fmla="*/ 411251 w 2932774"/>
                <a:gd name="connsiteY38" fmla="*/ 1920587 h 2911576"/>
                <a:gd name="connsiteX39" fmla="*/ 370408 w 2932774"/>
                <a:gd name="connsiteY39" fmla="*/ 1814340 h 2911576"/>
                <a:gd name="connsiteX40" fmla="*/ 330144 w 2932774"/>
                <a:gd name="connsiteY40" fmla="*/ 1546283 h 2911576"/>
                <a:gd name="connsiteX41" fmla="*/ 333010 w 2932774"/>
                <a:gd name="connsiteY41" fmla="*/ 1450313 h 2911576"/>
                <a:gd name="connsiteX42" fmla="*/ 0 w 2932774"/>
                <a:gd name="connsiteY42" fmla="*/ 1317659 h 2911576"/>
                <a:gd name="connsiteX43" fmla="*/ 35154 w 2932774"/>
                <a:gd name="connsiteY43" fmla="*/ 1118292 h 2911576"/>
                <a:gd name="connsiteX44" fmla="*/ 405289 w 2932774"/>
                <a:gd name="connsiteY44" fmla="*/ 1107180 h 2911576"/>
                <a:gd name="connsiteX45" fmla="*/ 444695 w 2932774"/>
                <a:gd name="connsiteY45" fmla="*/ 1011372 h 2911576"/>
                <a:gd name="connsiteX46" fmla="*/ 601458 w 2932774"/>
                <a:gd name="connsiteY46" fmla="*/ 769611 h 2911576"/>
                <a:gd name="connsiteX47" fmla="*/ 622589 w 2932774"/>
                <a:gd name="connsiteY47" fmla="*/ 747913 h 2911576"/>
                <a:gd name="connsiteX48" fmla="*/ 446039 w 2932774"/>
                <a:gd name="connsiteY48" fmla="*/ 419756 h 2911576"/>
                <a:gd name="connsiteX49" fmla="*/ 601120 w 2932774"/>
                <a:gd name="connsiteY49" fmla="*/ 289627 h 2911576"/>
                <a:gd name="connsiteX50" fmla="*/ 894887 w 2932774"/>
                <a:gd name="connsiteY50" fmla="*/ 521468 h 2911576"/>
                <a:gd name="connsiteX51" fmla="*/ 1005061 w 2932774"/>
                <a:gd name="connsiteY51" fmla="*/ 460695 h 2911576"/>
                <a:gd name="connsiteX52" fmla="*/ 1159434 w 2932774"/>
                <a:gd name="connsiteY52" fmla="*/ 402668 h 2911576"/>
                <a:gd name="connsiteX53" fmla="*/ 1288857 w 2932774"/>
                <a:gd name="connsiteY53" fmla="*/ 377431 h 2911576"/>
                <a:gd name="connsiteX54" fmla="*/ 1367154 w 2932774"/>
                <a:gd name="connsiteY54" fmla="*/ 0 h 2911576"/>
                <a:gd name="connsiteX55" fmla="*/ 1569597 w 2932774"/>
                <a:gd name="connsiteY55" fmla="*/ 0 h 2911576"/>
                <a:gd name="connsiteX56" fmla="*/ 1646698 w 2932774"/>
                <a:gd name="connsiteY56" fmla="*/ 371669 h 2911576"/>
                <a:gd name="connsiteX57" fmla="*/ 1803965 w 2932774"/>
                <a:gd name="connsiteY57" fmla="*/ 402316 h 2911576"/>
                <a:gd name="connsiteX58" fmla="*/ 2008116 w 2932774"/>
                <a:gd name="connsiteY58" fmla="*/ 486582 h 2911576"/>
                <a:gd name="connsiteX59" fmla="*/ 2055596 w 2932774"/>
                <a:gd name="connsiteY59" fmla="*/ 518765 h 291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932774" h="2911576">
                  <a:moveTo>
                    <a:pt x="2094610" y="749566"/>
                  </a:moveTo>
                  <a:cubicBezTo>
                    <a:pt x="1683337" y="404466"/>
                    <a:pt x="1070173" y="458111"/>
                    <a:pt x="725074" y="869385"/>
                  </a:cubicBezTo>
                  <a:cubicBezTo>
                    <a:pt x="379974" y="1280659"/>
                    <a:pt x="433619" y="1893822"/>
                    <a:pt x="844892" y="2238922"/>
                  </a:cubicBezTo>
                  <a:cubicBezTo>
                    <a:pt x="1256166" y="2584021"/>
                    <a:pt x="1869330" y="2530377"/>
                    <a:pt x="2214429" y="2119103"/>
                  </a:cubicBezTo>
                  <a:cubicBezTo>
                    <a:pt x="2559529" y="1707829"/>
                    <a:pt x="2505884" y="1094665"/>
                    <a:pt x="2094610" y="749566"/>
                  </a:cubicBezTo>
                  <a:close/>
                  <a:moveTo>
                    <a:pt x="2334142" y="298936"/>
                  </a:moveTo>
                  <a:lnTo>
                    <a:pt x="2489223" y="429064"/>
                  </a:lnTo>
                  <a:lnTo>
                    <a:pt x="2320667" y="742363"/>
                  </a:lnTo>
                  <a:lnTo>
                    <a:pt x="2354461" y="777201"/>
                  </a:lnTo>
                  <a:cubicBezTo>
                    <a:pt x="2435203" y="879773"/>
                    <a:pt x="2495636" y="994236"/>
                    <a:pt x="2535311" y="1114855"/>
                  </a:cubicBezTo>
                  <a:lnTo>
                    <a:pt x="2536967" y="1121826"/>
                  </a:lnTo>
                  <a:lnTo>
                    <a:pt x="2897593" y="1132603"/>
                  </a:lnTo>
                  <a:lnTo>
                    <a:pt x="2932774" y="1331966"/>
                  </a:lnTo>
                  <a:lnTo>
                    <a:pt x="2590256" y="1468461"/>
                  </a:lnTo>
                  <a:lnTo>
                    <a:pt x="2591629" y="1489431"/>
                  </a:lnTo>
                  <a:cubicBezTo>
                    <a:pt x="2589349" y="1616619"/>
                    <a:pt x="2565870" y="1744223"/>
                    <a:pt x="2520747" y="1866501"/>
                  </a:cubicBezTo>
                  <a:lnTo>
                    <a:pt x="2514437" y="1879930"/>
                  </a:lnTo>
                  <a:lnTo>
                    <a:pt x="2803260" y="2137440"/>
                  </a:lnTo>
                  <a:lnTo>
                    <a:pt x="2702039" y="2312761"/>
                  </a:lnTo>
                  <a:lnTo>
                    <a:pt x="2334283" y="2191277"/>
                  </a:lnTo>
                  <a:lnTo>
                    <a:pt x="2319995" y="2211637"/>
                  </a:lnTo>
                  <a:cubicBezTo>
                    <a:pt x="2243832" y="2302406"/>
                    <a:pt x="2156847" y="2378603"/>
                    <a:pt x="2062648" y="2439877"/>
                  </a:cubicBezTo>
                  <a:lnTo>
                    <a:pt x="2003075" y="2474637"/>
                  </a:lnTo>
                  <a:lnTo>
                    <a:pt x="2056587" y="2842337"/>
                  </a:lnTo>
                  <a:lnTo>
                    <a:pt x="1866354" y="2911576"/>
                  </a:lnTo>
                  <a:lnTo>
                    <a:pt x="1671448" y="2596242"/>
                  </a:lnTo>
                  <a:lnTo>
                    <a:pt x="1548242" y="2620265"/>
                  </a:lnTo>
                  <a:cubicBezTo>
                    <a:pt x="1476091" y="2627302"/>
                    <a:pt x="1403408" y="2627445"/>
                    <a:pt x="1331260" y="2620591"/>
                  </a:cubicBezTo>
                  <a:lnTo>
                    <a:pt x="1231810" y="2601211"/>
                  </a:lnTo>
                  <a:lnTo>
                    <a:pt x="1049067" y="2896869"/>
                  </a:lnTo>
                  <a:lnTo>
                    <a:pt x="858832" y="2827631"/>
                  </a:lnTo>
                  <a:lnTo>
                    <a:pt x="907780" y="2491308"/>
                  </a:lnTo>
                  <a:lnTo>
                    <a:pt x="816874" y="2436359"/>
                  </a:lnTo>
                  <a:cubicBezTo>
                    <a:pt x="785477" y="2415113"/>
                    <a:pt x="754881" y="2392053"/>
                    <a:pt x="725221" y="2367165"/>
                  </a:cubicBezTo>
                  <a:cubicBezTo>
                    <a:pt x="695562" y="2342277"/>
                    <a:pt x="667538" y="2316150"/>
                    <a:pt x="641163" y="2288921"/>
                  </a:cubicBezTo>
                  <a:lnTo>
                    <a:pt x="574277" y="2212385"/>
                  </a:lnTo>
                  <a:lnTo>
                    <a:pt x="268562" y="2313374"/>
                  </a:lnTo>
                  <a:lnTo>
                    <a:pt x="167340" y="2138053"/>
                  </a:lnTo>
                  <a:lnTo>
                    <a:pt x="411251" y="1920587"/>
                  </a:lnTo>
                  <a:lnTo>
                    <a:pt x="370408" y="1814340"/>
                  </a:lnTo>
                  <a:cubicBezTo>
                    <a:pt x="346310" y="1727013"/>
                    <a:pt x="332834" y="1636964"/>
                    <a:pt x="330144" y="1546283"/>
                  </a:cubicBezTo>
                  <a:lnTo>
                    <a:pt x="333010" y="1450313"/>
                  </a:lnTo>
                  <a:lnTo>
                    <a:pt x="0" y="1317659"/>
                  </a:lnTo>
                  <a:lnTo>
                    <a:pt x="35154" y="1118292"/>
                  </a:lnTo>
                  <a:lnTo>
                    <a:pt x="405289" y="1107180"/>
                  </a:lnTo>
                  <a:lnTo>
                    <a:pt x="444695" y="1011372"/>
                  </a:lnTo>
                  <a:cubicBezTo>
                    <a:pt x="485787" y="926536"/>
                    <a:pt x="537987" y="845252"/>
                    <a:pt x="601458" y="769611"/>
                  </a:cubicBezTo>
                  <a:lnTo>
                    <a:pt x="622589" y="747913"/>
                  </a:lnTo>
                  <a:lnTo>
                    <a:pt x="446039" y="419756"/>
                  </a:lnTo>
                  <a:lnTo>
                    <a:pt x="601120" y="289627"/>
                  </a:lnTo>
                  <a:lnTo>
                    <a:pt x="894887" y="521468"/>
                  </a:lnTo>
                  <a:lnTo>
                    <a:pt x="1005061" y="460695"/>
                  </a:lnTo>
                  <a:cubicBezTo>
                    <a:pt x="1055317" y="437563"/>
                    <a:pt x="1106924" y="418206"/>
                    <a:pt x="1159434" y="402668"/>
                  </a:cubicBezTo>
                  <a:lnTo>
                    <a:pt x="1288857" y="377431"/>
                  </a:lnTo>
                  <a:lnTo>
                    <a:pt x="1367154" y="0"/>
                  </a:lnTo>
                  <a:lnTo>
                    <a:pt x="1569597" y="0"/>
                  </a:lnTo>
                  <a:lnTo>
                    <a:pt x="1646698" y="371669"/>
                  </a:lnTo>
                  <a:lnTo>
                    <a:pt x="1803965" y="402316"/>
                  </a:lnTo>
                  <a:cubicBezTo>
                    <a:pt x="1873976" y="423270"/>
                    <a:pt x="1942381" y="451323"/>
                    <a:pt x="2008116" y="486582"/>
                  </a:cubicBezTo>
                  <a:lnTo>
                    <a:pt x="2055596" y="51876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Autofit/>
            </a:bodyPr>
            <a:lstStyle/>
            <a:p>
              <a:pPr algn="ctr"/>
              <a:endParaRPr lang="zh-CN" altLang="en-US">
                <a:solidFill>
                  <a:prstClr val="white"/>
                </a:solidFill>
              </a:endParaRPr>
            </a:p>
          </p:txBody>
        </p:sp>
        <p:sp>
          <p:nvSpPr>
            <p:cNvPr id="8" name="îŝlïḓé">
              <a:extLst>
                <a:ext uri="{FF2B5EF4-FFF2-40B4-BE49-F238E27FC236}">
                  <a16:creationId xmlns:a16="http://schemas.microsoft.com/office/drawing/2014/main" id="{F77B499C-883B-4505-883E-BF1E99DCB60B}"/>
                </a:ext>
              </a:extLst>
            </p:cNvPr>
            <p:cNvSpPr/>
            <p:nvPr/>
          </p:nvSpPr>
          <p:spPr>
            <a:xfrm rot="19200000">
              <a:off x="5666640" y="4255724"/>
              <a:ext cx="1752062" cy="1722869"/>
            </a:xfrm>
            <a:custGeom>
              <a:avLst/>
              <a:gdLst>
                <a:gd name="connsiteX0" fmla="*/ 2094610 w 2932774"/>
                <a:gd name="connsiteY0" fmla="*/ 749566 h 2911576"/>
                <a:gd name="connsiteX1" fmla="*/ 725074 w 2932774"/>
                <a:gd name="connsiteY1" fmla="*/ 869385 h 2911576"/>
                <a:gd name="connsiteX2" fmla="*/ 844892 w 2932774"/>
                <a:gd name="connsiteY2" fmla="*/ 2238922 h 2911576"/>
                <a:gd name="connsiteX3" fmla="*/ 2214429 w 2932774"/>
                <a:gd name="connsiteY3" fmla="*/ 2119103 h 2911576"/>
                <a:gd name="connsiteX4" fmla="*/ 2094610 w 2932774"/>
                <a:gd name="connsiteY4" fmla="*/ 749566 h 2911576"/>
                <a:gd name="connsiteX5" fmla="*/ 2334142 w 2932774"/>
                <a:gd name="connsiteY5" fmla="*/ 298936 h 2911576"/>
                <a:gd name="connsiteX6" fmla="*/ 2489223 w 2932774"/>
                <a:gd name="connsiteY6" fmla="*/ 429064 h 2911576"/>
                <a:gd name="connsiteX7" fmla="*/ 2320667 w 2932774"/>
                <a:gd name="connsiteY7" fmla="*/ 742363 h 2911576"/>
                <a:gd name="connsiteX8" fmla="*/ 2354461 w 2932774"/>
                <a:gd name="connsiteY8" fmla="*/ 777201 h 2911576"/>
                <a:gd name="connsiteX9" fmla="*/ 2535311 w 2932774"/>
                <a:gd name="connsiteY9" fmla="*/ 1114855 h 2911576"/>
                <a:gd name="connsiteX10" fmla="*/ 2536967 w 2932774"/>
                <a:gd name="connsiteY10" fmla="*/ 1121826 h 2911576"/>
                <a:gd name="connsiteX11" fmla="*/ 2897593 w 2932774"/>
                <a:gd name="connsiteY11" fmla="*/ 1132603 h 2911576"/>
                <a:gd name="connsiteX12" fmla="*/ 2932774 w 2932774"/>
                <a:gd name="connsiteY12" fmla="*/ 1331966 h 2911576"/>
                <a:gd name="connsiteX13" fmla="*/ 2590256 w 2932774"/>
                <a:gd name="connsiteY13" fmla="*/ 1468461 h 2911576"/>
                <a:gd name="connsiteX14" fmla="*/ 2591629 w 2932774"/>
                <a:gd name="connsiteY14" fmla="*/ 1489431 h 2911576"/>
                <a:gd name="connsiteX15" fmla="*/ 2520747 w 2932774"/>
                <a:gd name="connsiteY15" fmla="*/ 1866501 h 2911576"/>
                <a:gd name="connsiteX16" fmla="*/ 2514437 w 2932774"/>
                <a:gd name="connsiteY16" fmla="*/ 1879930 h 2911576"/>
                <a:gd name="connsiteX17" fmla="*/ 2803260 w 2932774"/>
                <a:gd name="connsiteY17" fmla="*/ 2137440 h 2911576"/>
                <a:gd name="connsiteX18" fmla="*/ 2702039 w 2932774"/>
                <a:gd name="connsiteY18" fmla="*/ 2312761 h 2911576"/>
                <a:gd name="connsiteX19" fmla="*/ 2334283 w 2932774"/>
                <a:gd name="connsiteY19" fmla="*/ 2191277 h 2911576"/>
                <a:gd name="connsiteX20" fmla="*/ 2319995 w 2932774"/>
                <a:gd name="connsiteY20" fmla="*/ 2211637 h 2911576"/>
                <a:gd name="connsiteX21" fmla="*/ 2062648 w 2932774"/>
                <a:gd name="connsiteY21" fmla="*/ 2439877 h 2911576"/>
                <a:gd name="connsiteX22" fmla="*/ 2003075 w 2932774"/>
                <a:gd name="connsiteY22" fmla="*/ 2474637 h 2911576"/>
                <a:gd name="connsiteX23" fmla="*/ 2056587 w 2932774"/>
                <a:gd name="connsiteY23" fmla="*/ 2842337 h 2911576"/>
                <a:gd name="connsiteX24" fmla="*/ 1866354 w 2932774"/>
                <a:gd name="connsiteY24" fmla="*/ 2911576 h 2911576"/>
                <a:gd name="connsiteX25" fmla="*/ 1671448 w 2932774"/>
                <a:gd name="connsiteY25" fmla="*/ 2596242 h 2911576"/>
                <a:gd name="connsiteX26" fmla="*/ 1548242 w 2932774"/>
                <a:gd name="connsiteY26" fmla="*/ 2620265 h 2911576"/>
                <a:gd name="connsiteX27" fmla="*/ 1331260 w 2932774"/>
                <a:gd name="connsiteY27" fmla="*/ 2620591 h 2911576"/>
                <a:gd name="connsiteX28" fmla="*/ 1231810 w 2932774"/>
                <a:gd name="connsiteY28" fmla="*/ 2601211 h 2911576"/>
                <a:gd name="connsiteX29" fmla="*/ 1049067 w 2932774"/>
                <a:gd name="connsiteY29" fmla="*/ 2896869 h 2911576"/>
                <a:gd name="connsiteX30" fmla="*/ 858832 w 2932774"/>
                <a:gd name="connsiteY30" fmla="*/ 2827631 h 2911576"/>
                <a:gd name="connsiteX31" fmla="*/ 907780 w 2932774"/>
                <a:gd name="connsiteY31" fmla="*/ 2491308 h 2911576"/>
                <a:gd name="connsiteX32" fmla="*/ 816874 w 2932774"/>
                <a:gd name="connsiteY32" fmla="*/ 2436359 h 2911576"/>
                <a:gd name="connsiteX33" fmla="*/ 725221 w 2932774"/>
                <a:gd name="connsiteY33" fmla="*/ 2367165 h 2911576"/>
                <a:gd name="connsiteX34" fmla="*/ 641163 w 2932774"/>
                <a:gd name="connsiteY34" fmla="*/ 2288921 h 2911576"/>
                <a:gd name="connsiteX35" fmla="*/ 574277 w 2932774"/>
                <a:gd name="connsiteY35" fmla="*/ 2212385 h 2911576"/>
                <a:gd name="connsiteX36" fmla="*/ 268562 w 2932774"/>
                <a:gd name="connsiteY36" fmla="*/ 2313374 h 2911576"/>
                <a:gd name="connsiteX37" fmla="*/ 167340 w 2932774"/>
                <a:gd name="connsiteY37" fmla="*/ 2138053 h 2911576"/>
                <a:gd name="connsiteX38" fmla="*/ 411251 w 2932774"/>
                <a:gd name="connsiteY38" fmla="*/ 1920587 h 2911576"/>
                <a:gd name="connsiteX39" fmla="*/ 370408 w 2932774"/>
                <a:gd name="connsiteY39" fmla="*/ 1814340 h 2911576"/>
                <a:gd name="connsiteX40" fmla="*/ 330144 w 2932774"/>
                <a:gd name="connsiteY40" fmla="*/ 1546283 h 2911576"/>
                <a:gd name="connsiteX41" fmla="*/ 333010 w 2932774"/>
                <a:gd name="connsiteY41" fmla="*/ 1450313 h 2911576"/>
                <a:gd name="connsiteX42" fmla="*/ 0 w 2932774"/>
                <a:gd name="connsiteY42" fmla="*/ 1317659 h 2911576"/>
                <a:gd name="connsiteX43" fmla="*/ 35154 w 2932774"/>
                <a:gd name="connsiteY43" fmla="*/ 1118292 h 2911576"/>
                <a:gd name="connsiteX44" fmla="*/ 405289 w 2932774"/>
                <a:gd name="connsiteY44" fmla="*/ 1107180 h 2911576"/>
                <a:gd name="connsiteX45" fmla="*/ 444695 w 2932774"/>
                <a:gd name="connsiteY45" fmla="*/ 1011372 h 2911576"/>
                <a:gd name="connsiteX46" fmla="*/ 601458 w 2932774"/>
                <a:gd name="connsiteY46" fmla="*/ 769611 h 2911576"/>
                <a:gd name="connsiteX47" fmla="*/ 622589 w 2932774"/>
                <a:gd name="connsiteY47" fmla="*/ 747913 h 2911576"/>
                <a:gd name="connsiteX48" fmla="*/ 446039 w 2932774"/>
                <a:gd name="connsiteY48" fmla="*/ 419756 h 2911576"/>
                <a:gd name="connsiteX49" fmla="*/ 601120 w 2932774"/>
                <a:gd name="connsiteY49" fmla="*/ 289627 h 2911576"/>
                <a:gd name="connsiteX50" fmla="*/ 894887 w 2932774"/>
                <a:gd name="connsiteY50" fmla="*/ 521468 h 2911576"/>
                <a:gd name="connsiteX51" fmla="*/ 1005061 w 2932774"/>
                <a:gd name="connsiteY51" fmla="*/ 460695 h 2911576"/>
                <a:gd name="connsiteX52" fmla="*/ 1159434 w 2932774"/>
                <a:gd name="connsiteY52" fmla="*/ 402668 h 2911576"/>
                <a:gd name="connsiteX53" fmla="*/ 1288857 w 2932774"/>
                <a:gd name="connsiteY53" fmla="*/ 377431 h 2911576"/>
                <a:gd name="connsiteX54" fmla="*/ 1367154 w 2932774"/>
                <a:gd name="connsiteY54" fmla="*/ 0 h 2911576"/>
                <a:gd name="connsiteX55" fmla="*/ 1569597 w 2932774"/>
                <a:gd name="connsiteY55" fmla="*/ 0 h 2911576"/>
                <a:gd name="connsiteX56" fmla="*/ 1646698 w 2932774"/>
                <a:gd name="connsiteY56" fmla="*/ 371669 h 2911576"/>
                <a:gd name="connsiteX57" fmla="*/ 1803965 w 2932774"/>
                <a:gd name="connsiteY57" fmla="*/ 402316 h 2911576"/>
                <a:gd name="connsiteX58" fmla="*/ 2008116 w 2932774"/>
                <a:gd name="connsiteY58" fmla="*/ 486582 h 2911576"/>
                <a:gd name="connsiteX59" fmla="*/ 2055596 w 2932774"/>
                <a:gd name="connsiteY59" fmla="*/ 518765 h 291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932774" h="2911576">
                  <a:moveTo>
                    <a:pt x="2094610" y="749566"/>
                  </a:moveTo>
                  <a:cubicBezTo>
                    <a:pt x="1683337" y="404466"/>
                    <a:pt x="1070173" y="458111"/>
                    <a:pt x="725074" y="869385"/>
                  </a:cubicBezTo>
                  <a:cubicBezTo>
                    <a:pt x="379974" y="1280659"/>
                    <a:pt x="433619" y="1893822"/>
                    <a:pt x="844892" y="2238922"/>
                  </a:cubicBezTo>
                  <a:cubicBezTo>
                    <a:pt x="1256166" y="2584021"/>
                    <a:pt x="1869330" y="2530377"/>
                    <a:pt x="2214429" y="2119103"/>
                  </a:cubicBezTo>
                  <a:cubicBezTo>
                    <a:pt x="2559529" y="1707829"/>
                    <a:pt x="2505884" y="1094665"/>
                    <a:pt x="2094610" y="749566"/>
                  </a:cubicBezTo>
                  <a:close/>
                  <a:moveTo>
                    <a:pt x="2334142" y="298936"/>
                  </a:moveTo>
                  <a:lnTo>
                    <a:pt x="2489223" y="429064"/>
                  </a:lnTo>
                  <a:lnTo>
                    <a:pt x="2320667" y="742363"/>
                  </a:lnTo>
                  <a:lnTo>
                    <a:pt x="2354461" y="777201"/>
                  </a:lnTo>
                  <a:cubicBezTo>
                    <a:pt x="2435203" y="879773"/>
                    <a:pt x="2495636" y="994236"/>
                    <a:pt x="2535311" y="1114855"/>
                  </a:cubicBezTo>
                  <a:lnTo>
                    <a:pt x="2536967" y="1121826"/>
                  </a:lnTo>
                  <a:lnTo>
                    <a:pt x="2897593" y="1132603"/>
                  </a:lnTo>
                  <a:lnTo>
                    <a:pt x="2932774" y="1331966"/>
                  </a:lnTo>
                  <a:lnTo>
                    <a:pt x="2590256" y="1468461"/>
                  </a:lnTo>
                  <a:lnTo>
                    <a:pt x="2591629" y="1489431"/>
                  </a:lnTo>
                  <a:cubicBezTo>
                    <a:pt x="2589349" y="1616619"/>
                    <a:pt x="2565870" y="1744223"/>
                    <a:pt x="2520747" y="1866501"/>
                  </a:cubicBezTo>
                  <a:lnTo>
                    <a:pt x="2514437" y="1879930"/>
                  </a:lnTo>
                  <a:lnTo>
                    <a:pt x="2803260" y="2137440"/>
                  </a:lnTo>
                  <a:lnTo>
                    <a:pt x="2702039" y="2312761"/>
                  </a:lnTo>
                  <a:lnTo>
                    <a:pt x="2334283" y="2191277"/>
                  </a:lnTo>
                  <a:lnTo>
                    <a:pt x="2319995" y="2211637"/>
                  </a:lnTo>
                  <a:cubicBezTo>
                    <a:pt x="2243832" y="2302406"/>
                    <a:pt x="2156847" y="2378603"/>
                    <a:pt x="2062648" y="2439877"/>
                  </a:cubicBezTo>
                  <a:lnTo>
                    <a:pt x="2003075" y="2474637"/>
                  </a:lnTo>
                  <a:lnTo>
                    <a:pt x="2056587" y="2842337"/>
                  </a:lnTo>
                  <a:lnTo>
                    <a:pt x="1866354" y="2911576"/>
                  </a:lnTo>
                  <a:lnTo>
                    <a:pt x="1671448" y="2596242"/>
                  </a:lnTo>
                  <a:lnTo>
                    <a:pt x="1548242" y="2620265"/>
                  </a:lnTo>
                  <a:cubicBezTo>
                    <a:pt x="1476091" y="2627302"/>
                    <a:pt x="1403408" y="2627445"/>
                    <a:pt x="1331260" y="2620591"/>
                  </a:cubicBezTo>
                  <a:lnTo>
                    <a:pt x="1231810" y="2601211"/>
                  </a:lnTo>
                  <a:lnTo>
                    <a:pt x="1049067" y="2896869"/>
                  </a:lnTo>
                  <a:lnTo>
                    <a:pt x="858832" y="2827631"/>
                  </a:lnTo>
                  <a:lnTo>
                    <a:pt x="907780" y="2491308"/>
                  </a:lnTo>
                  <a:lnTo>
                    <a:pt x="816874" y="2436359"/>
                  </a:lnTo>
                  <a:cubicBezTo>
                    <a:pt x="785477" y="2415113"/>
                    <a:pt x="754881" y="2392053"/>
                    <a:pt x="725221" y="2367165"/>
                  </a:cubicBezTo>
                  <a:cubicBezTo>
                    <a:pt x="695562" y="2342277"/>
                    <a:pt x="667538" y="2316150"/>
                    <a:pt x="641163" y="2288921"/>
                  </a:cubicBezTo>
                  <a:lnTo>
                    <a:pt x="574277" y="2212385"/>
                  </a:lnTo>
                  <a:lnTo>
                    <a:pt x="268562" y="2313374"/>
                  </a:lnTo>
                  <a:lnTo>
                    <a:pt x="167340" y="2138053"/>
                  </a:lnTo>
                  <a:lnTo>
                    <a:pt x="411251" y="1920587"/>
                  </a:lnTo>
                  <a:lnTo>
                    <a:pt x="370408" y="1814340"/>
                  </a:lnTo>
                  <a:cubicBezTo>
                    <a:pt x="346310" y="1727013"/>
                    <a:pt x="332834" y="1636964"/>
                    <a:pt x="330144" y="1546283"/>
                  </a:cubicBezTo>
                  <a:lnTo>
                    <a:pt x="333010" y="1450313"/>
                  </a:lnTo>
                  <a:lnTo>
                    <a:pt x="0" y="1317659"/>
                  </a:lnTo>
                  <a:lnTo>
                    <a:pt x="35154" y="1118292"/>
                  </a:lnTo>
                  <a:lnTo>
                    <a:pt x="405289" y="1107180"/>
                  </a:lnTo>
                  <a:lnTo>
                    <a:pt x="444695" y="1011372"/>
                  </a:lnTo>
                  <a:cubicBezTo>
                    <a:pt x="485787" y="926536"/>
                    <a:pt x="537987" y="845252"/>
                    <a:pt x="601458" y="769611"/>
                  </a:cubicBezTo>
                  <a:lnTo>
                    <a:pt x="622589" y="747913"/>
                  </a:lnTo>
                  <a:lnTo>
                    <a:pt x="446039" y="419756"/>
                  </a:lnTo>
                  <a:lnTo>
                    <a:pt x="601120" y="289627"/>
                  </a:lnTo>
                  <a:lnTo>
                    <a:pt x="894887" y="521468"/>
                  </a:lnTo>
                  <a:lnTo>
                    <a:pt x="1005061" y="460695"/>
                  </a:lnTo>
                  <a:cubicBezTo>
                    <a:pt x="1055317" y="437563"/>
                    <a:pt x="1106924" y="418206"/>
                    <a:pt x="1159434" y="402668"/>
                  </a:cubicBezTo>
                  <a:lnTo>
                    <a:pt x="1288857" y="377431"/>
                  </a:lnTo>
                  <a:lnTo>
                    <a:pt x="1367154" y="0"/>
                  </a:lnTo>
                  <a:lnTo>
                    <a:pt x="1569597" y="0"/>
                  </a:lnTo>
                  <a:lnTo>
                    <a:pt x="1646698" y="371669"/>
                  </a:lnTo>
                  <a:lnTo>
                    <a:pt x="1803965" y="402316"/>
                  </a:lnTo>
                  <a:cubicBezTo>
                    <a:pt x="1873976" y="423270"/>
                    <a:pt x="1942381" y="451323"/>
                    <a:pt x="2008116" y="486582"/>
                  </a:cubicBezTo>
                  <a:lnTo>
                    <a:pt x="2055596" y="5187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Autofit/>
            </a:bodyPr>
            <a:lstStyle/>
            <a:p>
              <a:pPr algn="ctr"/>
              <a:endParaRPr lang="zh-CN" altLang="en-US">
                <a:solidFill>
                  <a:prstClr val="white"/>
                </a:solidFill>
              </a:endParaRPr>
            </a:p>
          </p:txBody>
        </p:sp>
        <p:sp>
          <p:nvSpPr>
            <p:cNvPr id="9" name="îslîḑé">
              <a:extLst>
                <a:ext uri="{FF2B5EF4-FFF2-40B4-BE49-F238E27FC236}">
                  <a16:creationId xmlns:a16="http://schemas.microsoft.com/office/drawing/2014/main" id="{2B2285E2-1851-4D8A-96D7-7809A0F5C396}"/>
                </a:ext>
              </a:extLst>
            </p:cNvPr>
            <p:cNvSpPr/>
            <p:nvPr/>
          </p:nvSpPr>
          <p:spPr>
            <a:xfrm rot="19200000">
              <a:off x="4629272" y="2930911"/>
              <a:ext cx="1796938" cy="1783948"/>
            </a:xfrm>
            <a:custGeom>
              <a:avLst/>
              <a:gdLst>
                <a:gd name="connsiteX0" fmla="*/ 2094610 w 2932774"/>
                <a:gd name="connsiteY0" fmla="*/ 749566 h 2911576"/>
                <a:gd name="connsiteX1" fmla="*/ 725074 w 2932774"/>
                <a:gd name="connsiteY1" fmla="*/ 869385 h 2911576"/>
                <a:gd name="connsiteX2" fmla="*/ 844892 w 2932774"/>
                <a:gd name="connsiteY2" fmla="*/ 2238922 h 2911576"/>
                <a:gd name="connsiteX3" fmla="*/ 2214429 w 2932774"/>
                <a:gd name="connsiteY3" fmla="*/ 2119103 h 2911576"/>
                <a:gd name="connsiteX4" fmla="*/ 2094610 w 2932774"/>
                <a:gd name="connsiteY4" fmla="*/ 749566 h 2911576"/>
                <a:gd name="connsiteX5" fmla="*/ 2334142 w 2932774"/>
                <a:gd name="connsiteY5" fmla="*/ 298936 h 2911576"/>
                <a:gd name="connsiteX6" fmla="*/ 2489223 w 2932774"/>
                <a:gd name="connsiteY6" fmla="*/ 429064 h 2911576"/>
                <a:gd name="connsiteX7" fmla="*/ 2320667 w 2932774"/>
                <a:gd name="connsiteY7" fmla="*/ 742363 h 2911576"/>
                <a:gd name="connsiteX8" fmla="*/ 2354461 w 2932774"/>
                <a:gd name="connsiteY8" fmla="*/ 777201 h 2911576"/>
                <a:gd name="connsiteX9" fmla="*/ 2535311 w 2932774"/>
                <a:gd name="connsiteY9" fmla="*/ 1114855 h 2911576"/>
                <a:gd name="connsiteX10" fmla="*/ 2536967 w 2932774"/>
                <a:gd name="connsiteY10" fmla="*/ 1121826 h 2911576"/>
                <a:gd name="connsiteX11" fmla="*/ 2897593 w 2932774"/>
                <a:gd name="connsiteY11" fmla="*/ 1132603 h 2911576"/>
                <a:gd name="connsiteX12" fmla="*/ 2932774 w 2932774"/>
                <a:gd name="connsiteY12" fmla="*/ 1331966 h 2911576"/>
                <a:gd name="connsiteX13" fmla="*/ 2590256 w 2932774"/>
                <a:gd name="connsiteY13" fmla="*/ 1468461 h 2911576"/>
                <a:gd name="connsiteX14" fmla="*/ 2591629 w 2932774"/>
                <a:gd name="connsiteY14" fmla="*/ 1489431 h 2911576"/>
                <a:gd name="connsiteX15" fmla="*/ 2520747 w 2932774"/>
                <a:gd name="connsiteY15" fmla="*/ 1866501 h 2911576"/>
                <a:gd name="connsiteX16" fmla="*/ 2514437 w 2932774"/>
                <a:gd name="connsiteY16" fmla="*/ 1879930 h 2911576"/>
                <a:gd name="connsiteX17" fmla="*/ 2803260 w 2932774"/>
                <a:gd name="connsiteY17" fmla="*/ 2137440 h 2911576"/>
                <a:gd name="connsiteX18" fmla="*/ 2702039 w 2932774"/>
                <a:gd name="connsiteY18" fmla="*/ 2312761 h 2911576"/>
                <a:gd name="connsiteX19" fmla="*/ 2334283 w 2932774"/>
                <a:gd name="connsiteY19" fmla="*/ 2191277 h 2911576"/>
                <a:gd name="connsiteX20" fmla="*/ 2319995 w 2932774"/>
                <a:gd name="connsiteY20" fmla="*/ 2211637 h 2911576"/>
                <a:gd name="connsiteX21" fmla="*/ 2062648 w 2932774"/>
                <a:gd name="connsiteY21" fmla="*/ 2439877 h 2911576"/>
                <a:gd name="connsiteX22" fmla="*/ 2003075 w 2932774"/>
                <a:gd name="connsiteY22" fmla="*/ 2474637 h 2911576"/>
                <a:gd name="connsiteX23" fmla="*/ 2056587 w 2932774"/>
                <a:gd name="connsiteY23" fmla="*/ 2842337 h 2911576"/>
                <a:gd name="connsiteX24" fmla="*/ 1866354 w 2932774"/>
                <a:gd name="connsiteY24" fmla="*/ 2911576 h 2911576"/>
                <a:gd name="connsiteX25" fmla="*/ 1671448 w 2932774"/>
                <a:gd name="connsiteY25" fmla="*/ 2596242 h 2911576"/>
                <a:gd name="connsiteX26" fmla="*/ 1548242 w 2932774"/>
                <a:gd name="connsiteY26" fmla="*/ 2620265 h 2911576"/>
                <a:gd name="connsiteX27" fmla="*/ 1331260 w 2932774"/>
                <a:gd name="connsiteY27" fmla="*/ 2620591 h 2911576"/>
                <a:gd name="connsiteX28" fmla="*/ 1231810 w 2932774"/>
                <a:gd name="connsiteY28" fmla="*/ 2601211 h 2911576"/>
                <a:gd name="connsiteX29" fmla="*/ 1049067 w 2932774"/>
                <a:gd name="connsiteY29" fmla="*/ 2896869 h 2911576"/>
                <a:gd name="connsiteX30" fmla="*/ 858832 w 2932774"/>
                <a:gd name="connsiteY30" fmla="*/ 2827631 h 2911576"/>
                <a:gd name="connsiteX31" fmla="*/ 907780 w 2932774"/>
                <a:gd name="connsiteY31" fmla="*/ 2491308 h 2911576"/>
                <a:gd name="connsiteX32" fmla="*/ 816874 w 2932774"/>
                <a:gd name="connsiteY32" fmla="*/ 2436359 h 2911576"/>
                <a:gd name="connsiteX33" fmla="*/ 725221 w 2932774"/>
                <a:gd name="connsiteY33" fmla="*/ 2367165 h 2911576"/>
                <a:gd name="connsiteX34" fmla="*/ 641163 w 2932774"/>
                <a:gd name="connsiteY34" fmla="*/ 2288921 h 2911576"/>
                <a:gd name="connsiteX35" fmla="*/ 574277 w 2932774"/>
                <a:gd name="connsiteY35" fmla="*/ 2212385 h 2911576"/>
                <a:gd name="connsiteX36" fmla="*/ 268562 w 2932774"/>
                <a:gd name="connsiteY36" fmla="*/ 2313374 h 2911576"/>
                <a:gd name="connsiteX37" fmla="*/ 167340 w 2932774"/>
                <a:gd name="connsiteY37" fmla="*/ 2138053 h 2911576"/>
                <a:gd name="connsiteX38" fmla="*/ 411251 w 2932774"/>
                <a:gd name="connsiteY38" fmla="*/ 1920587 h 2911576"/>
                <a:gd name="connsiteX39" fmla="*/ 370408 w 2932774"/>
                <a:gd name="connsiteY39" fmla="*/ 1814340 h 2911576"/>
                <a:gd name="connsiteX40" fmla="*/ 330144 w 2932774"/>
                <a:gd name="connsiteY40" fmla="*/ 1546283 h 2911576"/>
                <a:gd name="connsiteX41" fmla="*/ 333010 w 2932774"/>
                <a:gd name="connsiteY41" fmla="*/ 1450313 h 2911576"/>
                <a:gd name="connsiteX42" fmla="*/ 0 w 2932774"/>
                <a:gd name="connsiteY42" fmla="*/ 1317659 h 2911576"/>
                <a:gd name="connsiteX43" fmla="*/ 35154 w 2932774"/>
                <a:gd name="connsiteY43" fmla="*/ 1118292 h 2911576"/>
                <a:gd name="connsiteX44" fmla="*/ 405289 w 2932774"/>
                <a:gd name="connsiteY44" fmla="*/ 1107180 h 2911576"/>
                <a:gd name="connsiteX45" fmla="*/ 444695 w 2932774"/>
                <a:gd name="connsiteY45" fmla="*/ 1011372 h 2911576"/>
                <a:gd name="connsiteX46" fmla="*/ 601458 w 2932774"/>
                <a:gd name="connsiteY46" fmla="*/ 769611 h 2911576"/>
                <a:gd name="connsiteX47" fmla="*/ 622589 w 2932774"/>
                <a:gd name="connsiteY47" fmla="*/ 747913 h 2911576"/>
                <a:gd name="connsiteX48" fmla="*/ 446039 w 2932774"/>
                <a:gd name="connsiteY48" fmla="*/ 419756 h 2911576"/>
                <a:gd name="connsiteX49" fmla="*/ 601120 w 2932774"/>
                <a:gd name="connsiteY49" fmla="*/ 289627 h 2911576"/>
                <a:gd name="connsiteX50" fmla="*/ 894887 w 2932774"/>
                <a:gd name="connsiteY50" fmla="*/ 521468 h 2911576"/>
                <a:gd name="connsiteX51" fmla="*/ 1005061 w 2932774"/>
                <a:gd name="connsiteY51" fmla="*/ 460695 h 2911576"/>
                <a:gd name="connsiteX52" fmla="*/ 1159434 w 2932774"/>
                <a:gd name="connsiteY52" fmla="*/ 402668 h 2911576"/>
                <a:gd name="connsiteX53" fmla="*/ 1288857 w 2932774"/>
                <a:gd name="connsiteY53" fmla="*/ 377431 h 2911576"/>
                <a:gd name="connsiteX54" fmla="*/ 1367154 w 2932774"/>
                <a:gd name="connsiteY54" fmla="*/ 0 h 2911576"/>
                <a:gd name="connsiteX55" fmla="*/ 1569597 w 2932774"/>
                <a:gd name="connsiteY55" fmla="*/ 0 h 2911576"/>
                <a:gd name="connsiteX56" fmla="*/ 1646698 w 2932774"/>
                <a:gd name="connsiteY56" fmla="*/ 371669 h 2911576"/>
                <a:gd name="connsiteX57" fmla="*/ 1803965 w 2932774"/>
                <a:gd name="connsiteY57" fmla="*/ 402316 h 2911576"/>
                <a:gd name="connsiteX58" fmla="*/ 2008116 w 2932774"/>
                <a:gd name="connsiteY58" fmla="*/ 486582 h 2911576"/>
                <a:gd name="connsiteX59" fmla="*/ 2055596 w 2932774"/>
                <a:gd name="connsiteY59" fmla="*/ 518765 h 291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932774" h="2911576">
                  <a:moveTo>
                    <a:pt x="2094610" y="749566"/>
                  </a:moveTo>
                  <a:cubicBezTo>
                    <a:pt x="1683337" y="404466"/>
                    <a:pt x="1070173" y="458111"/>
                    <a:pt x="725074" y="869385"/>
                  </a:cubicBezTo>
                  <a:cubicBezTo>
                    <a:pt x="379974" y="1280659"/>
                    <a:pt x="433619" y="1893822"/>
                    <a:pt x="844892" y="2238922"/>
                  </a:cubicBezTo>
                  <a:cubicBezTo>
                    <a:pt x="1256166" y="2584021"/>
                    <a:pt x="1869330" y="2530377"/>
                    <a:pt x="2214429" y="2119103"/>
                  </a:cubicBezTo>
                  <a:cubicBezTo>
                    <a:pt x="2559529" y="1707829"/>
                    <a:pt x="2505884" y="1094665"/>
                    <a:pt x="2094610" y="749566"/>
                  </a:cubicBezTo>
                  <a:close/>
                  <a:moveTo>
                    <a:pt x="2334142" y="298936"/>
                  </a:moveTo>
                  <a:lnTo>
                    <a:pt x="2489223" y="429064"/>
                  </a:lnTo>
                  <a:lnTo>
                    <a:pt x="2320667" y="742363"/>
                  </a:lnTo>
                  <a:lnTo>
                    <a:pt x="2354461" y="777201"/>
                  </a:lnTo>
                  <a:cubicBezTo>
                    <a:pt x="2435203" y="879773"/>
                    <a:pt x="2495636" y="994236"/>
                    <a:pt x="2535311" y="1114855"/>
                  </a:cubicBezTo>
                  <a:lnTo>
                    <a:pt x="2536967" y="1121826"/>
                  </a:lnTo>
                  <a:lnTo>
                    <a:pt x="2897593" y="1132603"/>
                  </a:lnTo>
                  <a:lnTo>
                    <a:pt x="2932774" y="1331966"/>
                  </a:lnTo>
                  <a:lnTo>
                    <a:pt x="2590256" y="1468461"/>
                  </a:lnTo>
                  <a:lnTo>
                    <a:pt x="2591629" y="1489431"/>
                  </a:lnTo>
                  <a:cubicBezTo>
                    <a:pt x="2589349" y="1616619"/>
                    <a:pt x="2565870" y="1744223"/>
                    <a:pt x="2520747" y="1866501"/>
                  </a:cubicBezTo>
                  <a:lnTo>
                    <a:pt x="2514437" y="1879930"/>
                  </a:lnTo>
                  <a:lnTo>
                    <a:pt x="2803260" y="2137440"/>
                  </a:lnTo>
                  <a:lnTo>
                    <a:pt x="2702039" y="2312761"/>
                  </a:lnTo>
                  <a:lnTo>
                    <a:pt x="2334283" y="2191277"/>
                  </a:lnTo>
                  <a:lnTo>
                    <a:pt x="2319995" y="2211637"/>
                  </a:lnTo>
                  <a:cubicBezTo>
                    <a:pt x="2243832" y="2302406"/>
                    <a:pt x="2156847" y="2378603"/>
                    <a:pt x="2062648" y="2439877"/>
                  </a:cubicBezTo>
                  <a:lnTo>
                    <a:pt x="2003075" y="2474637"/>
                  </a:lnTo>
                  <a:lnTo>
                    <a:pt x="2056587" y="2842337"/>
                  </a:lnTo>
                  <a:lnTo>
                    <a:pt x="1866354" y="2911576"/>
                  </a:lnTo>
                  <a:lnTo>
                    <a:pt x="1671448" y="2596242"/>
                  </a:lnTo>
                  <a:lnTo>
                    <a:pt x="1548242" y="2620265"/>
                  </a:lnTo>
                  <a:cubicBezTo>
                    <a:pt x="1476091" y="2627302"/>
                    <a:pt x="1403408" y="2627445"/>
                    <a:pt x="1331260" y="2620591"/>
                  </a:cubicBezTo>
                  <a:lnTo>
                    <a:pt x="1231810" y="2601211"/>
                  </a:lnTo>
                  <a:lnTo>
                    <a:pt x="1049067" y="2896869"/>
                  </a:lnTo>
                  <a:lnTo>
                    <a:pt x="858832" y="2827631"/>
                  </a:lnTo>
                  <a:lnTo>
                    <a:pt x="907780" y="2491308"/>
                  </a:lnTo>
                  <a:lnTo>
                    <a:pt x="816874" y="2436359"/>
                  </a:lnTo>
                  <a:cubicBezTo>
                    <a:pt x="785477" y="2415113"/>
                    <a:pt x="754881" y="2392053"/>
                    <a:pt x="725221" y="2367165"/>
                  </a:cubicBezTo>
                  <a:cubicBezTo>
                    <a:pt x="695562" y="2342277"/>
                    <a:pt x="667538" y="2316150"/>
                    <a:pt x="641163" y="2288921"/>
                  </a:cubicBezTo>
                  <a:lnTo>
                    <a:pt x="574277" y="2212385"/>
                  </a:lnTo>
                  <a:lnTo>
                    <a:pt x="268562" y="2313374"/>
                  </a:lnTo>
                  <a:lnTo>
                    <a:pt x="167340" y="2138053"/>
                  </a:lnTo>
                  <a:lnTo>
                    <a:pt x="411251" y="1920587"/>
                  </a:lnTo>
                  <a:lnTo>
                    <a:pt x="370408" y="1814340"/>
                  </a:lnTo>
                  <a:cubicBezTo>
                    <a:pt x="346310" y="1727013"/>
                    <a:pt x="332834" y="1636964"/>
                    <a:pt x="330144" y="1546283"/>
                  </a:cubicBezTo>
                  <a:lnTo>
                    <a:pt x="333010" y="1450313"/>
                  </a:lnTo>
                  <a:lnTo>
                    <a:pt x="0" y="1317659"/>
                  </a:lnTo>
                  <a:lnTo>
                    <a:pt x="35154" y="1118292"/>
                  </a:lnTo>
                  <a:lnTo>
                    <a:pt x="405289" y="1107180"/>
                  </a:lnTo>
                  <a:lnTo>
                    <a:pt x="444695" y="1011372"/>
                  </a:lnTo>
                  <a:cubicBezTo>
                    <a:pt x="485787" y="926536"/>
                    <a:pt x="537987" y="845252"/>
                    <a:pt x="601458" y="769611"/>
                  </a:cubicBezTo>
                  <a:lnTo>
                    <a:pt x="622589" y="747913"/>
                  </a:lnTo>
                  <a:lnTo>
                    <a:pt x="446039" y="419756"/>
                  </a:lnTo>
                  <a:lnTo>
                    <a:pt x="601120" y="289627"/>
                  </a:lnTo>
                  <a:lnTo>
                    <a:pt x="894887" y="521468"/>
                  </a:lnTo>
                  <a:lnTo>
                    <a:pt x="1005061" y="460695"/>
                  </a:lnTo>
                  <a:cubicBezTo>
                    <a:pt x="1055317" y="437563"/>
                    <a:pt x="1106924" y="418206"/>
                    <a:pt x="1159434" y="402668"/>
                  </a:cubicBezTo>
                  <a:lnTo>
                    <a:pt x="1288857" y="377431"/>
                  </a:lnTo>
                  <a:lnTo>
                    <a:pt x="1367154" y="0"/>
                  </a:lnTo>
                  <a:lnTo>
                    <a:pt x="1569597" y="0"/>
                  </a:lnTo>
                  <a:lnTo>
                    <a:pt x="1646698" y="371669"/>
                  </a:lnTo>
                  <a:lnTo>
                    <a:pt x="1803965" y="402316"/>
                  </a:lnTo>
                  <a:cubicBezTo>
                    <a:pt x="1873976" y="423270"/>
                    <a:pt x="1942381" y="451323"/>
                    <a:pt x="2008116" y="486582"/>
                  </a:cubicBezTo>
                  <a:lnTo>
                    <a:pt x="2055596" y="51876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Autofit/>
            </a:bodyPr>
            <a:lstStyle/>
            <a:p>
              <a:pPr algn="ctr"/>
              <a:endParaRPr lang="zh-CN" altLang="en-US">
                <a:solidFill>
                  <a:prstClr val="white"/>
                </a:solidFill>
              </a:endParaRPr>
            </a:p>
          </p:txBody>
        </p:sp>
        <p:sp>
          <p:nvSpPr>
            <p:cNvPr id="30" name="îṧḷiḋé">
              <a:extLst>
                <a:ext uri="{FF2B5EF4-FFF2-40B4-BE49-F238E27FC236}">
                  <a16:creationId xmlns:a16="http://schemas.microsoft.com/office/drawing/2014/main" id="{12BBB4D2-F33E-4E6D-9257-0E55A75DB961}"/>
                </a:ext>
              </a:extLst>
            </p:cNvPr>
            <p:cNvSpPr/>
            <p:nvPr/>
          </p:nvSpPr>
          <p:spPr bwMode="auto">
            <a:xfrm>
              <a:off x="7431192" y="3741266"/>
              <a:ext cx="320634" cy="305785"/>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chemeClr val="accent1"/>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lang="en-US" sz="7198" dirty="0"/>
            </a:p>
          </p:txBody>
        </p:sp>
        <p:sp>
          <p:nvSpPr>
            <p:cNvPr id="28" name="îṩlíďe">
              <a:extLst>
                <a:ext uri="{FF2B5EF4-FFF2-40B4-BE49-F238E27FC236}">
                  <a16:creationId xmlns:a16="http://schemas.microsoft.com/office/drawing/2014/main" id="{F48EAFA9-6F60-4635-9212-01333DA0B8BE}"/>
                </a:ext>
              </a:extLst>
            </p:cNvPr>
            <p:cNvSpPr/>
            <p:nvPr/>
          </p:nvSpPr>
          <p:spPr bwMode="auto">
            <a:xfrm>
              <a:off x="5362051" y="3682261"/>
              <a:ext cx="409088" cy="287467"/>
            </a:xfrm>
            <a:custGeom>
              <a:avLst/>
              <a:gdLst>
                <a:gd name="connsiteX0" fmla="*/ 450100 w 607639"/>
                <a:gd name="connsiteY0" fmla="*/ 313203 h 426991"/>
                <a:gd name="connsiteX1" fmla="*/ 450100 w 607639"/>
                <a:gd name="connsiteY1" fmla="*/ 403167 h 426991"/>
                <a:gd name="connsiteX2" fmla="*/ 585744 w 607639"/>
                <a:gd name="connsiteY2" fmla="*/ 403167 h 426991"/>
                <a:gd name="connsiteX3" fmla="*/ 586100 w 607639"/>
                <a:gd name="connsiteY3" fmla="*/ 313203 h 426991"/>
                <a:gd name="connsiteX4" fmla="*/ 530294 w 607639"/>
                <a:gd name="connsiteY4" fmla="*/ 313203 h 426991"/>
                <a:gd name="connsiteX5" fmla="*/ 530116 w 607639"/>
                <a:gd name="connsiteY5" fmla="*/ 313203 h 426991"/>
                <a:gd name="connsiteX6" fmla="*/ 529760 w 607639"/>
                <a:gd name="connsiteY6" fmla="*/ 313203 h 426991"/>
                <a:gd name="connsiteX7" fmla="*/ 450901 w 607639"/>
                <a:gd name="connsiteY7" fmla="*/ 313203 h 426991"/>
                <a:gd name="connsiteX8" fmla="*/ 236309 w 607639"/>
                <a:gd name="connsiteY8" fmla="*/ 313203 h 426991"/>
                <a:gd name="connsiteX9" fmla="*/ 236309 w 607639"/>
                <a:gd name="connsiteY9" fmla="*/ 403167 h 426991"/>
                <a:gd name="connsiteX10" fmla="*/ 371953 w 607639"/>
                <a:gd name="connsiteY10" fmla="*/ 403167 h 426991"/>
                <a:gd name="connsiteX11" fmla="*/ 372754 w 607639"/>
                <a:gd name="connsiteY11" fmla="*/ 313203 h 426991"/>
                <a:gd name="connsiteX12" fmla="*/ 237110 w 607639"/>
                <a:gd name="connsiteY12" fmla="*/ 313203 h 426991"/>
                <a:gd name="connsiteX13" fmla="*/ 22519 w 607639"/>
                <a:gd name="connsiteY13" fmla="*/ 313203 h 426991"/>
                <a:gd name="connsiteX14" fmla="*/ 22519 w 607639"/>
                <a:gd name="connsiteY14" fmla="*/ 403167 h 426991"/>
                <a:gd name="connsiteX15" fmla="*/ 158163 w 607639"/>
                <a:gd name="connsiteY15" fmla="*/ 403167 h 426991"/>
                <a:gd name="connsiteX16" fmla="*/ 158964 w 607639"/>
                <a:gd name="connsiteY16" fmla="*/ 313203 h 426991"/>
                <a:gd name="connsiteX17" fmla="*/ 91498 w 607639"/>
                <a:gd name="connsiteY17" fmla="*/ 313203 h 426991"/>
                <a:gd name="connsiteX18" fmla="*/ 91231 w 607639"/>
                <a:gd name="connsiteY18" fmla="*/ 313203 h 426991"/>
                <a:gd name="connsiteX19" fmla="*/ 90964 w 607639"/>
                <a:gd name="connsiteY19" fmla="*/ 313203 h 426991"/>
                <a:gd name="connsiteX20" fmla="*/ 23320 w 607639"/>
                <a:gd name="connsiteY20" fmla="*/ 313203 h 426991"/>
                <a:gd name="connsiteX21" fmla="*/ 91409 w 607639"/>
                <a:gd name="connsiteY21" fmla="*/ 224751 h 426991"/>
                <a:gd name="connsiteX22" fmla="*/ 530294 w 607639"/>
                <a:gd name="connsiteY22" fmla="*/ 224751 h 426991"/>
                <a:gd name="connsiteX23" fmla="*/ 540084 w 607639"/>
                <a:gd name="connsiteY23" fmla="*/ 234530 h 426991"/>
                <a:gd name="connsiteX24" fmla="*/ 540084 w 607639"/>
                <a:gd name="connsiteY24" fmla="*/ 292135 h 426991"/>
                <a:gd name="connsiteX25" fmla="*/ 586456 w 607639"/>
                <a:gd name="connsiteY25" fmla="*/ 292135 h 426991"/>
                <a:gd name="connsiteX26" fmla="*/ 607639 w 607639"/>
                <a:gd name="connsiteY26" fmla="*/ 313203 h 426991"/>
                <a:gd name="connsiteX27" fmla="*/ 607639 w 607639"/>
                <a:gd name="connsiteY27" fmla="*/ 403167 h 426991"/>
                <a:gd name="connsiteX28" fmla="*/ 586456 w 607639"/>
                <a:gd name="connsiteY28" fmla="*/ 426991 h 426991"/>
                <a:gd name="connsiteX29" fmla="*/ 451524 w 607639"/>
                <a:gd name="connsiteY29" fmla="*/ 426991 h 426991"/>
                <a:gd name="connsiteX30" fmla="*/ 427582 w 607639"/>
                <a:gd name="connsiteY30" fmla="*/ 403167 h 426991"/>
                <a:gd name="connsiteX31" fmla="*/ 427582 w 607639"/>
                <a:gd name="connsiteY31" fmla="*/ 313203 h 426991"/>
                <a:gd name="connsiteX32" fmla="*/ 451524 w 607639"/>
                <a:gd name="connsiteY32" fmla="*/ 292135 h 426991"/>
                <a:gd name="connsiteX33" fmla="*/ 517566 w 607639"/>
                <a:gd name="connsiteY33" fmla="*/ 292135 h 426991"/>
                <a:gd name="connsiteX34" fmla="*/ 517566 w 607639"/>
                <a:gd name="connsiteY34" fmla="*/ 247242 h 426991"/>
                <a:gd name="connsiteX35" fmla="*/ 315079 w 607639"/>
                <a:gd name="connsiteY35" fmla="*/ 247242 h 426991"/>
                <a:gd name="connsiteX36" fmla="*/ 315079 w 607639"/>
                <a:gd name="connsiteY36" fmla="*/ 292135 h 426991"/>
                <a:gd name="connsiteX37" fmla="*/ 372665 w 607639"/>
                <a:gd name="connsiteY37" fmla="*/ 292135 h 426991"/>
                <a:gd name="connsiteX38" fmla="*/ 393849 w 607639"/>
                <a:gd name="connsiteY38" fmla="*/ 313203 h 426991"/>
                <a:gd name="connsiteX39" fmla="*/ 393849 w 607639"/>
                <a:gd name="connsiteY39" fmla="*/ 403167 h 426991"/>
                <a:gd name="connsiteX40" fmla="*/ 372665 w 607639"/>
                <a:gd name="connsiteY40" fmla="*/ 426991 h 426991"/>
                <a:gd name="connsiteX41" fmla="*/ 237733 w 607639"/>
                <a:gd name="connsiteY41" fmla="*/ 426991 h 426991"/>
                <a:gd name="connsiteX42" fmla="*/ 213791 w 607639"/>
                <a:gd name="connsiteY42" fmla="*/ 403167 h 426991"/>
                <a:gd name="connsiteX43" fmla="*/ 213791 w 607639"/>
                <a:gd name="connsiteY43" fmla="*/ 313203 h 426991"/>
                <a:gd name="connsiteX44" fmla="*/ 237733 w 607639"/>
                <a:gd name="connsiteY44" fmla="*/ 292135 h 426991"/>
                <a:gd name="connsiteX45" fmla="*/ 292561 w 607639"/>
                <a:gd name="connsiteY45" fmla="*/ 292135 h 426991"/>
                <a:gd name="connsiteX46" fmla="*/ 292561 w 607639"/>
                <a:gd name="connsiteY46" fmla="*/ 247242 h 426991"/>
                <a:gd name="connsiteX47" fmla="*/ 101288 w 607639"/>
                <a:gd name="connsiteY47" fmla="*/ 247242 h 426991"/>
                <a:gd name="connsiteX48" fmla="*/ 101288 w 607639"/>
                <a:gd name="connsiteY48" fmla="*/ 292135 h 426991"/>
                <a:gd name="connsiteX49" fmla="*/ 158875 w 607639"/>
                <a:gd name="connsiteY49" fmla="*/ 292135 h 426991"/>
                <a:gd name="connsiteX50" fmla="*/ 180058 w 607639"/>
                <a:gd name="connsiteY50" fmla="*/ 313203 h 426991"/>
                <a:gd name="connsiteX51" fmla="*/ 180058 w 607639"/>
                <a:gd name="connsiteY51" fmla="*/ 403167 h 426991"/>
                <a:gd name="connsiteX52" fmla="*/ 158875 w 607639"/>
                <a:gd name="connsiteY52" fmla="*/ 426991 h 426991"/>
                <a:gd name="connsiteX53" fmla="*/ 24032 w 607639"/>
                <a:gd name="connsiteY53" fmla="*/ 426991 h 426991"/>
                <a:gd name="connsiteX54" fmla="*/ 0 w 607639"/>
                <a:gd name="connsiteY54" fmla="*/ 403167 h 426991"/>
                <a:gd name="connsiteX55" fmla="*/ 0 w 607639"/>
                <a:gd name="connsiteY55" fmla="*/ 313203 h 426991"/>
                <a:gd name="connsiteX56" fmla="*/ 24032 w 607639"/>
                <a:gd name="connsiteY56" fmla="*/ 292135 h 426991"/>
                <a:gd name="connsiteX57" fmla="*/ 78770 w 607639"/>
                <a:gd name="connsiteY57" fmla="*/ 292135 h 426991"/>
                <a:gd name="connsiteX58" fmla="*/ 78770 w 607639"/>
                <a:gd name="connsiteY58" fmla="*/ 234530 h 426991"/>
                <a:gd name="connsiteX59" fmla="*/ 91409 w 607639"/>
                <a:gd name="connsiteY59" fmla="*/ 224751 h 426991"/>
                <a:gd name="connsiteX60" fmla="*/ 236326 w 607639"/>
                <a:gd name="connsiteY60" fmla="*/ 21066 h 426991"/>
                <a:gd name="connsiteX61" fmla="*/ 236326 w 607639"/>
                <a:gd name="connsiteY61" fmla="*/ 111021 h 426991"/>
                <a:gd name="connsiteX62" fmla="*/ 371758 w 607639"/>
                <a:gd name="connsiteY62" fmla="*/ 111021 h 426991"/>
                <a:gd name="connsiteX63" fmla="*/ 372380 w 607639"/>
                <a:gd name="connsiteY63" fmla="*/ 21066 h 426991"/>
                <a:gd name="connsiteX64" fmla="*/ 237127 w 607639"/>
                <a:gd name="connsiteY64" fmla="*/ 21066 h 426991"/>
                <a:gd name="connsiteX65" fmla="*/ 237750 w 607639"/>
                <a:gd name="connsiteY65" fmla="*/ 0 h 426991"/>
                <a:gd name="connsiteX66" fmla="*/ 372647 w 607639"/>
                <a:gd name="connsiteY66" fmla="*/ 0 h 426991"/>
                <a:gd name="connsiteX67" fmla="*/ 393825 w 607639"/>
                <a:gd name="connsiteY67" fmla="*/ 21066 h 426991"/>
                <a:gd name="connsiteX68" fmla="*/ 393825 w 607639"/>
                <a:gd name="connsiteY68" fmla="*/ 111021 h 426991"/>
                <a:gd name="connsiteX69" fmla="*/ 372647 w 607639"/>
                <a:gd name="connsiteY69" fmla="*/ 134843 h 426991"/>
                <a:gd name="connsiteX70" fmla="*/ 315076 w 607639"/>
                <a:gd name="connsiteY70" fmla="*/ 134843 h 426991"/>
                <a:gd name="connsiteX71" fmla="*/ 315076 w 607639"/>
                <a:gd name="connsiteY71" fmla="*/ 191020 h 426991"/>
                <a:gd name="connsiteX72" fmla="*/ 292563 w 607639"/>
                <a:gd name="connsiteY72" fmla="*/ 191020 h 426991"/>
                <a:gd name="connsiteX73" fmla="*/ 292563 w 607639"/>
                <a:gd name="connsiteY73" fmla="*/ 134843 h 426991"/>
                <a:gd name="connsiteX74" fmla="*/ 237750 w 607639"/>
                <a:gd name="connsiteY74" fmla="*/ 134843 h 426991"/>
                <a:gd name="connsiteX75" fmla="*/ 213813 w 607639"/>
                <a:gd name="connsiteY75" fmla="*/ 111021 h 426991"/>
                <a:gd name="connsiteX76" fmla="*/ 213813 w 607639"/>
                <a:gd name="connsiteY76" fmla="*/ 21066 h 426991"/>
                <a:gd name="connsiteX77" fmla="*/ 237750 w 607639"/>
                <a:gd name="connsiteY77" fmla="*/ 0 h 42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7639" h="426991">
                  <a:moveTo>
                    <a:pt x="450100" y="313203"/>
                  </a:moveTo>
                  <a:lnTo>
                    <a:pt x="450100" y="403167"/>
                  </a:lnTo>
                  <a:lnTo>
                    <a:pt x="585744" y="403167"/>
                  </a:lnTo>
                  <a:lnTo>
                    <a:pt x="586100" y="313203"/>
                  </a:lnTo>
                  <a:lnTo>
                    <a:pt x="530294" y="313203"/>
                  </a:lnTo>
                  <a:cubicBezTo>
                    <a:pt x="530294" y="313203"/>
                    <a:pt x="530116" y="313203"/>
                    <a:pt x="530116" y="313203"/>
                  </a:cubicBezTo>
                  <a:cubicBezTo>
                    <a:pt x="530027" y="313203"/>
                    <a:pt x="529849" y="313203"/>
                    <a:pt x="529760" y="313203"/>
                  </a:cubicBezTo>
                  <a:lnTo>
                    <a:pt x="450901" y="313203"/>
                  </a:lnTo>
                  <a:close/>
                  <a:moveTo>
                    <a:pt x="236309" y="313203"/>
                  </a:moveTo>
                  <a:lnTo>
                    <a:pt x="236309" y="403167"/>
                  </a:lnTo>
                  <a:lnTo>
                    <a:pt x="371953" y="403167"/>
                  </a:lnTo>
                  <a:lnTo>
                    <a:pt x="372754" y="313203"/>
                  </a:lnTo>
                  <a:lnTo>
                    <a:pt x="237110" y="313203"/>
                  </a:lnTo>
                  <a:close/>
                  <a:moveTo>
                    <a:pt x="22519" y="313203"/>
                  </a:moveTo>
                  <a:lnTo>
                    <a:pt x="22519" y="403167"/>
                  </a:lnTo>
                  <a:lnTo>
                    <a:pt x="158163" y="403167"/>
                  </a:lnTo>
                  <a:lnTo>
                    <a:pt x="158964" y="313203"/>
                  </a:lnTo>
                  <a:lnTo>
                    <a:pt x="91498" y="313203"/>
                  </a:lnTo>
                  <a:cubicBezTo>
                    <a:pt x="91409" y="313203"/>
                    <a:pt x="91320" y="313203"/>
                    <a:pt x="91231" y="313203"/>
                  </a:cubicBezTo>
                  <a:cubicBezTo>
                    <a:pt x="91231" y="313203"/>
                    <a:pt x="90964" y="313203"/>
                    <a:pt x="90964" y="313203"/>
                  </a:cubicBezTo>
                  <a:lnTo>
                    <a:pt x="23320" y="313203"/>
                  </a:lnTo>
                  <a:close/>
                  <a:moveTo>
                    <a:pt x="91409" y="224751"/>
                  </a:moveTo>
                  <a:lnTo>
                    <a:pt x="530294" y="224751"/>
                  </a:lnTo>
                  <a:cubicBezTo>
                    <a:pt x="536435" y="224751"/>
                    <a:pt x="540084" y="228396"/>
                    <a:pt x="540084" y="234530"/>
                  </a:cubicBezTo>
                  <a:lnTo>
                    <a:pt x="540084" y="292135"/>
                  </a:lnTo>
                  <a:lnTo>
                    <a:pt x="586456" y="292135"/>
                  </a:lnTo>
                  <a:cubicBezTo>
                    <a:pt x="598917" y="292135"/>
                    <a:pt x="607639" y="300847"/>
                    <a:pt x="607639" y="313203"/>
                  </a:cubicBezTo>
                  <a:lnTo>
                    <a:pt x="607639" y="403167"/>
                  </a:lnTo>
                  <a:cubicBezTo>
                    <a:pt x="607639" y="415524"/>
                    <a:pt x="598917" y="426991"/>
                    <a:pt x="586456" y="426991"/>
                  </a:cubicBezTo>
                  <a:lnTo>
                    <a:pt x="451524" y="426991"/>
                  </a:lnTo>
                  <a:cubicBezTo>
                    <a:pt x="439152" y="426991"/>
                    <a:pt x="427582" y="415524"/>
                    <a:pt x="427582" y="403167"/>
                  </a:cubicBezTo>
                  <a:lnTo>
                    <a:pt x="427582" y="313203"/>
                  </a:lnTo>
                  <a:cubicBezTo>
                    <a:pt x="427582" y="300847"/>
                    <a:pt x="439152" y="292135"/>
                    <a:pt x="451524" y="292135"/>
                  </a:cubicBezTo>
                  <a:lnTo>
                    <a:pt x="517566" y="292135"/>
                  </a:lnTo>
                  <a:lnTo>
                    <a:pt x="517566" y="247242"/>
                  </a:lnTo>
                  <a:lnTo>
                    <a:pt x="315079" y="247242"/>
                  </a:lnTo>
                  <a:lnTo>
                    <a:pt x="315079" y="292135"/>
                  </a:lnTo>
                  <a:lnTo>
                    <a:pt x="372665" y="292135"/>
                  </a:lnTo>
                  <a:cubicBezTo>
                    <a:pt x="385126" y="292135"/>
                    <a:pt x="393849" y="300847"/>
                    <a:pt x="393849" y="313203"/>
                  </a:cubicBezTo>
                  <a:lnTo>
                    <a:pt x="393849" y="403167"/>
                  </a:lnTo>
                  <a:cubicBezTo>
                    <a:pt x="393849" y="415524"/>
                    <a:pt x="385126" y="426991"/>
                    <a:pt x="372665" y="426991"/>
                  </a:cubicBezTo>
                  <a:lnTo>
                    <a:pt x="237733" y="426991"/>
                  </a:lnTo>
                  <a:cubicBezTo>
                    <a:pt x="225362" y="426991"/>
                    <a:pt x="213791" y="415524"/>
                    <a:pt x="213791" y="403167"/>
                  </a:cubicBezTo>
                  <a:lnTo>
                    <a:pt x="213791" y="313203"/>
                  </a:lnTo>
                  <a:cubicBezTo>
                    <a:pt x="213791" y="300847"/>
                    <a:pt x="225362" y="292135"/>
                    <a:pt x="237733" y="292135"/>
                  </a:cubicBezTo>
                  <a:lnTo>
                    <a:pt x="292561" y="292135"/>
                  </a:lnTo>
                  <a:lnTo>
                    <a:pt x="292561" y="247242"/>
                  </a:lnTo>
                  <a:lnTo>
                    <a:pt x="101288" y="247242"/>
                  </a:lnTo>
                  <a:lnTo>
                    <a:pt x="101288" y="292135"/>
                  </a:lnTo>
                  <a:lnTo>
                    <a:pt x="158875" y="292135"/>
                  </a:lnTo>
                  <a:cubicBezTo>
                    <a:pt x="171335" y="292135"/>
                    <a:pt x="180058" y="300847"/>
                    <a:pt x="180058" y="313203"/>
                  </a:cubicBezTo>
                  <a:lnTo>
                    <a:pt x="180058" y="403167"/>
                  </a:lnTo>
                  <a:cubicBezTo>
                    <a:pt x="180058" y="415524"/>
                    <a:pt x="171335" y="426991"/>
                    <a:pt x="158875" y="426991"/>
                  </a:cubicBezTo>
                  <a:lnTo>
                    <a:pt x="24032" y="426991"/>
                  </a:lnTo>
                  <a:cubicBezTo>
                    <a:pt x="11571" y="426991"/>
                    <a:pt x="0" y="415524"/>
                    <a:pt x="0" y="403167"/>
                  </a:cubicBezTo>
                  <a:lnTo>
                    <a:pt x="0" y="313203"/>
                  </a:lnTo>
                  <a:cubicBezTo>
                    <a:pt x="0" y="300847"/>
                    <a:pt x="11571" y="292135"/>
                    <a:pt x="24032" y="292135"/>
                  </a:cubicBezTo>
                  <a:lnTo>
                    <a:pt x="78770" y="292135"/>
                  </a:lnTo>
                  <a:lnTo>
                    <a:pt x="78770" y="234530"/>
                  </a:lnTo>
                  <a:cubicBezTo>
                    <a:pt x="78770" y="228396"/>
                    <a:pt x="85178" y="224751"/>
                    <a:pt x="91409" y="224751"/>
                  </a:cubicBezTo>
                  <a:close/>
                  <a:moveTo>
                    <a:pt x="236326" y="21066"/>
                  </a:moveTo>
                  <a:lnTo>
                    <a:pt x="236326" y="111021"/>
                  </a:lnTo>
                  <a:lnTo>
                    <a:pt x="371758" y="111021"/>
                  </a:lnTo>
                  <a:lnTo>
                    <a:pt x="372380" y="21066"/>
                  </a:lnTo>
                  <a:lnTo>
                    <a:pt x="237127" y="21066"/>
                  </a:lnTo>
                  <a:close/>
                  <a:moveTo>
                    <a:pt x="237750" y="0"/>
                  </a:moveTo>
                  <a:lnTo>
                    <a:pt x="372647" y="0"/>
                  </a:lnTo>
                  <a:cubicBezTo>
                    <a:pt x="385105" y="0"/>
                    <a:pt x="393825" y="8711"/>
                    <a:pt x="393825" y="21066"/>
                  </a:cubicBezTo>
                  <a:lnTo>
                    <a:pt x="393825" y="111021"/>
                  </a:lnTo>
                  <a:cubicBezTo>
                    <a:pt x="393825" y="123376"/>
                    <a:pt x="385105" y="134843"/>
                    <a:pt x="372647" y="134843"/>
                  </a:cubicBezTo>
                  <a:lnTo>
                    <a:pt x="315076" y="134843"/>
                  </a:lnTo>
                  <a:lnTo>
                    <a:pt x="315076" y="191020"/>
                  </a:lnTo>
                  <a:lnTo>
                    <a:pt x="292563" y="191020"/>
                  </a:lnTo>
                  <a:lnTo>
                    <a:pt x="292563" y="134843"/>
                  </a:lnTo>
                  <a:lnTo>
                    <a:pt x="237750" y="134843"/>
                  </a:lnTo>
                  <a:cubicBezTo>
                    <a:pt x="225381" y="134843"/>
                    <a:pt x="213813" y="123376"/>
                    <a:pt x="213813" y="111021"/>
                  </a:cubicBezTo>
                  <a:lnTo>
                    <a:pt x="213813" y="21066"/>
                  </a:lnTo>
                  <a:cubicBezTo>
                    <a:pt x="213813" y="8711"/>
                    <a:pt x="225381" y="0"/>
                    <a:pt x="237750" y="0"/>
                  </a:cubicBezTo>
                  <a:close/>
                </a:path>
              </a:pathLst>
            </a:custGeom>
            <a:solidFill>
              <a:schemeClr val="accent2"/>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lang="en-US" sz="7198" dirty="0"/>
            </a:p>
          </p:txBody>
        </p:sp>
        <p:sp>
          <p:nvSpPr>
            <p:cNvPr id="26" name="îšlïďê">
              <a:extLst>
                <a:ext uri="{FF2B5EF4-FFF2-40B4-BE49-F238E27FC236}">
                  <a16:creationId xmlns:a16="http://schemas.microsoft.com/office/drawing/2014/main" id="{1B179593-0BF0-4F11-A878-2874556A5CE4}"/>
                </a:ext>
              </a:extLst>
            </p:cNvPr>
            <p:cNvSpPr/>
            <p:nvPr/>
          </p:nvSpPr>
          <p:spPr bwMode="auto">
            <a:xfrm>
              <a:off x="6335892" y="4967940"/>
              <a:ext cx="413557" cy="298436"/>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accent4"/>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lang="en-US" sz="7198" dirty="0"/>
            </a:p>
          </p:txBody>
        </p:sp>
        <p:sp>
          <p:nvSpPr>
            <p:cNvPr id="24" name="iṥḷîďè">
              <a:extLst>
                <a:ext uri="{FF2B5EF4-FFF2-40B4-BE49-F238E27FC236}">
                  <a16:creationId xmlns:a16="http://schemas.microsoft.com/office/drawing/2014/main" id="{FC1CFD2A-3F29-45B9-A0B1-006EFC47CE39}"/>
                </a:ext>
              </a:extLst>
            </p:cNvPr>
            <p:cNvSpPr/>
            <p:nvPr/>
          </p:nvSpPr>
          <p:spPr bwMode="auto">
            <a:xfrm>
              <a:off x="8383644" y="2592327"/>
              <a:ext cx="333897" cy="227844"/>
            </a:xfrm>
            <a:custGeom>
              <a:avLst/>
              <a:gdLst>
                <a:gd name="connsiteX0" fmla="*/ 20293 w 607639"/>
                <a:gd name="connsiteY0" fmla="*/ 364067 h 414642"/>
                <a:gd name="connsiteX1" fmla="*/ 20293 w 607639"/>
                <a:gd name="connsiteY1" fmla="*/ 384244 h 414642"/>
                <a:gd name="connsiteX2" fmla="*/ 30351 w 607639"/>
                <a:gd name="connsiteY2" fmla="*/ 394377 h 414642"/>
                <a:gd name="connsiteX3" fmla="*/ 577199 w 607639"/>
                <a:gd name="connsiteY3" fmla="*/ 394377 h 414642"/>
                <a:gd name="connsiteX4" fmla="*/ 587346 w 607639"/>
                <a:gd name="connsiteY4" fmla="*/ 384244 h 414642"/>
                <a:gd name="connsiteX5" fmla="*/ 587346 w 607639"/>
                <a:gd name="connsiteY5" fmla="*/ 364067 h 414642"/>
                <a:gd name="connsiteX6" fmla="*/ 556995 w 607639"/>
                <a:gd name="connsiteY6" fmla="*/ 364067 h 414642"/>
                <a:gd name="connsiteX7" fmla="*/ 394916 w 607639"/>
                <a:gd name="connsiteY7" fmla="*/ 364067 h 414642"/>
                <a:gd name="connsiteX8" fmla="*/ 394916 w 607639"/>
                <a:gd name="connsiteY8" fmla="*/ 374200 h 414642"/>
                <a:gd name="connsiteX9" fmla="*/ 384859 w 607639"/>
                <a:gd name="connsiteY9" fmla="*/ 384244 h 414642"/>
                <a:gd name="connsiteX10" fmla="*/ 222780 w 607639"/>
                <a:gd name="connsiteY10" fmla="*/ 384244 h 414642"/>
                <a:gd name="connsiteX11" fmla="*/ 212634 w 607639"/>
                <a:gd name="connsiteY11" fmla="*/ 374200 h 414642"/>
                <a:gd name="connsiteX12" fmla="*/ 212634 w 607639"/>
                <a:gd name="connsiteY12" fmla="*/ 364067 h 414642"/>
                <a:gd name="connsiteX13" fmla="*/ 50644 w 607639"/>
                <a:gd name="connsiteY13" fmla="*/ 364067 h 414642"/>
                <a:gd name="connsiteX14" fmla="*/ 182270 w 607639"/>
                <a:gd name="connsiteY14" fmla="*/ 262926 h 414642"/>
                <a:gd name="connsiteX15" fmla="*/ 192432 w 607639"/>
                <a:gd name="connsiteY15" fmla="*/ 262926 h 414642"/>
                <a:gd name="connsiteX16" fmla="*/ 202593 w 607639"/>
                <a:gd name="connsiteY16" fmla="*/ 273052 h 414642"/>
                <a:gd name="connsiteX17" fmla="*/ 192432 w 607639"/>
                <a:gd name="connsiteY17" fmla="*/ 283178 h 414642"/>
                <a:gd name="connsiteX18" fmla="*/ 182270 w 607639"/>
                <a:gd name="connsiteY18" fmla="*/ 283178 h 414642"/>
                <a:gd name="connsiteX19" fmla="*/ 172109 w 607639"/>
                <a:gd name="connsiteY19" fmla="*/ 273052 h 414642"/>
                <a:gd name="connsiteX20" fmla="*/ 182270 w 607639"/>
                <a:gd name="connsiteY20" fmla="*/ 262926 h 414642"/>
                <a:gd name="connsiteX21" fmla="*/ 91153 w 607639"/>
                <a:gd name="connsiteY21" fmla="*/ 262926 h 414642"/>
                <a:gd name="connsiteX22" fmla="*/ 141783 w 607639"/>
                <a:gd name="connsiteY22" fmla="*/ 262926 h 414642"/>
                <a:gd name="connsiteX23" fmla="*/ 151927 w 607639"/>
                <a:gd name="connsiteY23" fmla="*/ 273052 h 414642"/>
                <a:gd name="connsiteX24" fmla="*/ 141783 w 607639"/>
                <a:gd name="connsiteY24" fmla="*/ 283178 h 414642"/>
                <a:gd name="connsiteX25" fmla="*/ 91153 w 607639"/>
                <a:gd name="connsiteY25" fmla="*/ 283178 h 414642"/>
                <a:gd name="connsiteX26" fmla="*/ 81009 w 607639"/>
                <a:gd name="connsiteY26" fmla="*/ 273052 h 414642"/>
                <a:gd name="connsiteX27" fmla="*/ 91153 w 607639"/>
                <a:gd name="connsiteY27" fmla="*/ 262926 h 414642"/>
                <a:gd name="connsiteX28" fmla="*/ 161988 w 607639"/>
                <a:gd name="connsiteY28" fmla="*/ 222493 h 414642"/>
                <a:gd name="connsiteX29" fmla="*/ 232948 w 607639"/>
                <a:gd name="connsiteY29" fmla="*/ 222493 h 414642"/>
                <a:gd name="connsiteX30" fmla="*/ 243098 w 607639"/>
                <a:gd name="connsiteY30" fmla="*/ 232619 h 414642"/>
                <a:gd name="connsiteX31" fmla="*/ 232948 w 607639"/>
                <a:gd name="connsiteY31" fmla="*/ 242745 h 414642"/>
                <a:gd name="connsiteX32" fmla="*/ 161988 w 607639"/>
                <a:gd name="connsiteY32" fmla="*/ 242745 h 414642"/>
                <a:gd name="connsiteX33" fmla="*/ 151927 w 607639"/>
                <a:gd name="connsiteY33" fmla="*/ 232619 h 414642"/>
                <a:gd name="connsiteX34" fmla="*/ 161988 w 607639"/>
                <a:gd name="connsiteY34" fmla="*/ 222493 h 414642"/>
                <a:gd name="connsiteX35" fmla="*/ 91146 w 607639"/>
                <a:gd name="connsiteY35" fmla="*/ 222493 h 414642"/>
                <a:gd name="connsiteX36" fmla="*/ 121467 w 607639"/>
                <a:gd name="connsiteY36" fmla="*/ 222493 h 414642"/>
                <a:gd name="connsiteX37" fmla="*/ 131604 w 607639"/>
                <a:gd name="connsiteY37" fmla="*/ 232619 h 414642"/>
                <a:gd name="connsiteX38" fmla="*/ 121467 w 607639"/>
                <a:gd name="connsiteY38" fmla="*/ 242745 h 414642"/>
                <a:gd name="connsiteX39" fmla="*/ 91146 w 607639"/>
                <a:gd name="connsiteY39" fmla="*/ 242745 h 414642"/>
                <a:gd name="connsiteX40" fmla="*/ 81009 w 607639"/>
                <a:gd name="connsiteY40" fmla="*/ 232619 h 414642"/>
                <a:gd name="connsiteX41" fmla="*/ 91146 w 607639"/>
                <a:gd name="connsiteY41" fmla="*/ 222493 h 414642"/>
                <a:gd name="connsiteX42" fmla="*/ 182270 w 607639"/>
                <a:gd name="connsiteY42" fmla="*/ 182059 h 414642"/>
                <a:gd name="connsiteX43" fmla="*/ 192432 w 607639"/>
                <a:gd name="connsiteY43" fmla="*/ 182059 h 414642"/>
                <a:gd name="connsiteX44" fmla="*/ 202593 w 607639"/>
                <a:gd name="connsiteY44" fmla="*/ 192195 h 414642"/>
                <a:gd name="connsiteX45" fmla="*/ 192432 w 607639"/>
                <a:gd name="connsiteY45" fmla="*/ 202241 h 414642"/>
                <a:gd name="connsiteX46" fmla="*/ 182270 w 607639"/>
                <a:gd name="connsiteY46" fmla="*/ 202241 h 414642"/>
                <a:gd name="connsiteX47" fmla="*/ 172109 w 607639"/>
                <a:gd name="connsiteY47" fmla="*/ 192195 h 414642"/>
                <a:gd name="connsiteX48" fmla="*/ 182270 w 607639"/>
                <a:gd name="connsiteY48" fmla="*/ 182059 h 414642"/>
                <a:gd name="connsiteX49" fmla="*/ 91153 w 607639"/>
                <a:gd name="connsiteY49" fmla="*/ 182059 h 414642"/>
                <a:gd name="connsiteX50" fmla="*/ 141783 w 607639"/>
                <a:gd name="connsiteY50" fmla="*/ 182059 h 414642"/>
                <a:gd name="connsiteX51" fmla="*/ 151927 w 607639"/>
                <a:gd name="connsiteY51" fmla="*/ 192195 h 414642"/>
                <a:gd name="connsiteX52" fmla="*/ 141783 w 607639"/>
                <a:gd name="connsiteY52" fmla="*/ 202241 h 414642"/>
                <a:gd name="connsiteX53" fmla="*/ 91153 w 607639"/>
                <a:gd name="connsiteY53" fmla="*/ 202241 h 414642"/>
                <a:gd name="connsiteX54" fmla="*/ 81009 w 607639"/>
                <a:gd name="connsiteY54" fmla="*/ 192195 h 414642"/>
                <a:gd name="connsiteX55" fmla="*/ 91153 w 607639"/>
                <a:gd name="connsiteY55" fmla="*/ 182059 h 414642"/>
                <a:gd name="connsiteX56" fmla="*/ 161988 w 607639"/>
                <a:gd name="connsiteY56" fmla="*/ 141625 h 414642"/>
                <a:gd name="connsiteX57" fmla="*/ 232948 w 607639"/>
                <a:gd name="connsiteY57" fmla="*/ 141625 h 414642"/>
                <a:gd name="connsiteX58" fmla="*/ 243098 w 607639"/>
                <a:gd name="connsiteY58" fmla="*/ 151761 h 414642"/>
                <a:gd name="connsiteX59" fmla="*/ 232948 w 607639"/>
                <a:gd name="connsiteY59" fmla="*/ 161807 h 414642"/>
                <a:gd name="connsiteX60" fmla="*/ 161988 w 607639"/>
                <a:gd name="connsiteY60" fmla="*/ 161807 h 414642"/>
                <a:gd name="connsiteX61" fmla="*/ 151927 w 607639"/>
                <a:gd name="connsiteY61" fmla="*/ 151761 h 414642"/>
                <a:gd name="connsiteX62" fmla="*/ 161988 w 607639"/>
                <a:gd name="connsiteY62" fmla="*/ 141625 h 414642"/>
                <a:gd name="connsiteX63" fmla="*/ 91146 w 607639"/>
                <a:gd name="connsiteY63" fmla="*/ 141625 h 414642"/>
                <a:gd name="connsiteX64" fmla="*/ 121467 w 607639"/>
                <a:gd name="connsiteY64" fmla="*/ 141625 h 414642"/>
                <a:gd name="connsiteX65" fmla="*/ 131604 w 607639"/>
                <a:gd name="connsiteY65" fmla="*/ 151761 h 414642"/>
                <a:gd name="connsiteX66" fmla="*/ 121467 w 607639"/>
                <a:gd name="connsiteY66" fmla="*/ 161807 h 414642"/>
                <a:gd name="connsiteX67" fmla="*/ 91146 w 607639"/>
                <a:gd name="connsiteY67" fmla="*/ 161807 h 414642"/>
                <a:gd name="connsiteX68" fmla="*/ 81009 w 607639"/>
                <a:gd name="connsiteY68" fmla="*/ 151761 h 414642"/>
                <a:gd name="connsiteX69" fmla="*/ 91146 w 607639"/>
                <a:gd name="connsiteY69" fmla="*/ 141625 h 414642"/>
                <a:gd name="connsiteX70" fmla="*/ 364566 w 607639"/>
                <a:gd name="connsiteY70" fmla="*/ 102176 h 414642"/>
                <a:gd name="connsiteX71" fmla="*/ 283573 w 607639"/>
                <a:gd name="connsiteY71" fmla="*/ 192194 h 414642"/>
                <a:gd name="connsiteX72" fmla="*/ 374712 w 607639"/>
                <a:gd name="connsiteY72" fmla="*/ 283188 h 414642"/>
                <a:gd name="connsiteX73" fmla="*/ 464783 w 607639"/>
                <a:gd name="connsiteY73" fmla="*/ 202235 h 414642"/>
                <a:gd name="connsiteX74" fmla="*/ 374712 w 607639"/>
                <a:gd name="connsiteY74" fmla="*/ 202235 h 414642"/>
                <a:gd name="connsiteX75" fmla="*/ 364566 w 607639"/>
                <a:gd name="connsiteY75" fmla="*/ 192194 h 414642"/>
                <a:gd name="connsiteX76" fmla="*/ 182270 w 607639"/>
                <a:gd name="connsiteY76" fmla="*/ 101191 h 414642"/>
                <a:gd name="connsiteX77" fmla="*/ 192432 w 607639"/>
                <a:gd name="connsiteY77" fmla="*/ 101191 h 414642"/>
                <a:gd name="connsiteX78" fmla="*/ 202593 w 607639"/>
                <a:gd name="connsiteY78" fmla="*/ 111238 h 414642"/>
                <a:gd name="connsiteX79" fmla="*/ 192432 w 607639"/>
                <a:gd name="connsiteY79" fmla="*/ 121373 h 414642"/>
                <a:gd name="connsiteX80" fmla="*/ 182270 w 607639"/>
                <a:gd name="connsiteY80" fmla="*/ 121373 h 414642"/>
                <a:gd name="connsiteX81" fmla="*/ 172109 w 607639"/>
                <a:gd name="connsiteY81" fmla="*/ 111238 h 414642"/>
                <a:gd name="connsiteX82" fmla="*/ 182270 w 607639"/>
                <a:gd name="connsiteY82" fmla="*/ 101191 h 414642"/>
                <a:gd name="connsiteX83" fmla="*/ 91153 w 607639"/>
                <a:gd name="connsiteY83" fmla="*/ 101191 h 414642"/>
                <a:gd name="connsiteX84" fmla="*/ 141783 w 607639"/>
                <a:gd name="connsiteY84" fmla="*/ 101191 h 414642"/>
                <a:gd name="connsiteX85" fmla="*/ 151927 w 607639"/>
                <a:gd name="connsiteY85" fmla="*/ 111238 h 414642"/>
                <a:gd name="connsiteX86" fmla="*/ 141783 w 607639"/>
                <a:gd name="connsiteY86" fmla="*/ 121373 h 414642"/>
                <a:gd name="connsiteX87" fmla="*/ 91153 w 607639"/>
                <a:gd name="connsiteY87" fmla="*/ 121373 h 414642"/>
                <a:gd name="connsiteX88" fmla="*/ 81009 w 607639"/>
                <a:gd name="connsiteY88" fmla="*/ 111238 h 414642"/>
                <a:gd name="connsiteX89" fmla="*/ 91153 w 607639"/>
                <a:gd name="connsiteY89" fmla="*/ 101191 h 414642"/>
                <a:gd name="connsiteX90" fmla="*/ 374712 w 607639"/>
                <a:gd name="connsiteY90" fmla="*/ 80938 h 414642"/>
                <a:gd name="connsiteX91" fmla="*/ 384858 w 607639"/>
                <a:gd name="connsiteY91" fmla="*/ 91068 h 414642"/>
                <a:gd name="connsiteX92" fmla="*/ 384858 w 607639"/>
                <a:gd name="connsiteY92" fmla="*/ 182063 h 414642"/>
                <a:gd name="connsiteX93" fmla="*/ 475998 w 607639"/>
                <a:gd name="connsiteY93" fmla="*/ 182063 h 414642"/>
                <a:gd name="connsiteX94" fmla="*/ 486055 w 607639"/>
                <a:gd name="connsiteY94" fmla="*/ 192194 h 414642"/>
                <a:gd name="connsiteX95" fmla="*/ 374712 w 607639"/>
                <a:gd name="connsiteY95" fmla="*/ 303360 h 414642"/>
                <a:gd name="connsiteX96" fmla="*/ 263280 w 607639"/>
                <a:gd name="connsiteY96" fmla="*/ 192194 h 414642"/>
                <a:gd name="connsiteX97" fmla="*/ 374712 w 607639"/>
                <a:gd name="connsiteY97" fmla="*/ 80938 h 414642"/>
                <a:gd name="connsiteX98" fmla="*/ 425343 w 607639"/>
                <a:gd name="connsiteY98" fmla="*/ 61744 h 414642"/>
                <a:gd name="connsiteX99" fmla="*/ 425343 w 607639"/>
                <a:gd name="connsiteY99" fmla="*/ 141635 h 414642"/>
                <a:gd name="connsiteX100" fmla="*/ 505373 w 607639"/>
                <a:gd name="connsiteY100" fmla="*/ 141635 h 414642"/>
                <a:gd name="connsiteX101" fmla="*/ 425343 w 607639"/>
                <a:gd name="connsiteY101" fmla="*/ 61744 h 414642"/>
                <a:gd name="connsiteX102" fmla="*/ 161988 w 607639"/>
                <a:gd name="connsiteY102" fmla="*/ 60757 h 414642"/>
                <a:gd name="connsiteX103" fmla="*/ 232948 w 607639"/>
                <a:gd name="connsiteY103" fmla="*/ 60757 h 414642"/>
                <a:gd name="connsiteX104" fmla="*/ 243098 w 607639"/>
                <a:gd name="connsiteY104" fmla="*/ 70804 h 414642"/>
                <a:gd name="connsiteX105" fmla="*/ 232948 w 607639"/>
                <a:gd name="connsiteY105" fmla="*/ 80939 h 414642"/>
                <a:gd name="connsiteX106" fmla="*/ 161988 w 607639"/>
                <a:gd name="connsiteY106" fmla="*/ 80939 h 414642"/>
                <a:gd name="connsiteX107" fmla="*/ 151927 w 607639"/>
                <a:gd name="connsiteY107" fmla="*/ 70804 h 414642"/>
                <a:gd name="connsiteX108" fmla="*/ 161988 w 607639"/>
                <a:gd name="connsiteY108" fmla="*/ 60757 h 414642"/>
                <a:gd name="connsiteX109" fmla="*/ 91146 w 607639"/>
                <a:gd name="connsiteY109" fmla="*/ 60757 h 414642"/>
                <a:gd name="connsiteX110" fmla="*/ 121467 w 607639"/>
                <a:gd name="connsiteY110" fmla="*/ 60757 h 414642"/>
                <a:gd name="connsiteX111" fmla="*/ 131604 w 607639"/>
                <a:gd name="connsiteY111" fmla="*/ 70804 h 414642"/>
                <a:gd name="connsiteX112" fmla="*/ 121467 w 607639"/>
                <a:gd name="connsiteY112" fmla="*/ 80939 h 414642"/>
                <a:gd name="connsiteX113" fmla="*/ 91146 w 607639"/>
                <a:gd name="connsiteY113" fmla="*/ 80939 h 414642"/>
                <a:gd name="connsiteX114" fmla="*/ 81009 w 607639"/>
                <a:gd name="connsiteY114" fmla="*/ 70804 h 414642"/>
                <a:gd name="connsiteX115" fmla="*/ 91146 w 607639"/>
                <a:gd name="connsiteY115" fmla="*/ 60757 h 414642"/>
                <a:gd name="connsiteX116" fmla="*/ 415194 w 607639"/>
                <a:gd name="connsiteY116" fmla="*/ 40505 h 414642"/>
                <a:gd name="connsiteX117" fmla="*/ 526560 w 607639"/>
                <a:gd name="connsiteY117" fmla="*/ 151765 h 414642"/>
                <a:gd name="connsiteX118" fmla="*/ 516501 w 607639"/>
                <a:gd name="connsiteY118" fmla="*/ 161807 h 414642"/>
                <a:gd name="connsiteX119" fmla="*/ 415194 w 607639"/>
                <a:gd name="connsiteY119" fmla="*/ 161807 h 414642"/>
                <a:gd name="connsiteX120" fmla="*/ 405046 w 607639"/>
                <a:gd name="connsiteY120" fmla="*/ 151765 h 414642"/>
                <a:gd name="connsiteX121" fmla="*/ 405046 w 607639"/>
                <a:gd name="connsiteY121" fmla="*/ 50636 h 414642"/>
                <a:gd name="connsiteX122" fmla="*/ 415194 w 607639"/>
                <a:gd name="connsiteY122" fmla="*/ 40505 h 414642"/>
                <a:gd name="connsiteX123" fmla="*/ 70848 w 607639"/>
                <a:gd name="connsiteY123" fmla="*/ 20177 h 414642"/>
                <a:gd name="connsiteX124" fmla="*/ 60791 w 607639"/>
                <a:gd name="connsiteY124" fmla="*/ 30309 h 414642"/>
                <a:gd name="connsiteX125" fmla="*/ 60791 w 607639"/>
                <a:gd name="connsiteY125" fmla="*/ 343802 h 414642"/>
                <a:gd name="connsiteX126" fmla="*/ 222780 w 607639"/>
                <a:gd name="connsiteY126" fmla="*/ 343802 h 414642"/>
                <a:gd name="connsiteX127" fmla="*/ 232927 w 607639"/>
                <a:gd name="connsiteY127" fmla="*/ 353935 h 414642"/>
                <a:gd name="connsiteX128" fmla="*/ 232927 w 607639"/>
                <a:gd name="connsiteY128" fmla="*/ 364067 h 414642"/>
                <a:gd name="connsiteX129" fmla="*/ 374712 w 607639"/>
                <a:gd name="connsiteY129" fmla="*/ 364067 h 414642"/>
                <a:gd name="connsiteX130" fmla="*/ 374712 w 607639"/>
                <a:gd name="connsiteY130" fmla="*/ 353935 h 414642"/>
                <a:gd name="connsiteX131" fmla="*/ 384859 w 607639"/>
                <a:gd name="connsiteY131" fmla="*/ 343802 h 414642"/>
                <a:gd name="connsiteX132" fmla="*/ 546848 w 607639"/>
                <a:gd name="connsiteY132" fmla="*/ 343802 h 414642"/>
                <a:gd name="connsiteX133" fmla="*/ 546848 w 607639"/>
                <a:gd name="connsiteY133" fmla="*/ 30309 h 414642"/>
                <a:gd name="connsiteX134" fmla="*/ 536702 w 607639"/>
                <a:gd name="connsiteY134" fmla="*/ 20177 h 414642"/>
                <a:gd name="connsiteX135" fmla="*/ 70848 w 607639"/>
                <a:gd name="connsiteY135" fmla="*/ 0 h 414642"/>
                <a:gd name="connsiteX136" fmla="*/ 536702 w 607639"/>
                <a:gd name="connsiteY136" fmla="*/ 0 h 414642"/>
                <a:gd name="connsiteX137" fmla="*/ 567142 w 607639"/>
                <a:gd name="connsiteY137" fmla="*/ 30309 h 414642"/>
                <a:gd name="connsiteX138" fmla="*/ 567142 w 607639"/>
                <a:gd name="connsiteY138" fmla="*/ 343802 h 414642"/>
                <a:gd name="connsiteX139" fmla="*/ 597492 w 607639"/>
                <a:gd name="connsiteY139" fmla="*/ 343802 h 414642"/>
                <a:gd name="connsiteX140" fmla="*/ 607639 w 607639"/>
                <a:gd name="connsiteY140" fmla="*/ 353935 h 414642"/>
                <a:gd name="connsiteX141" fmla="*/ 607639 w 607639"/>
                <a:gd name="connsiteY141" fmla="*/ 384244 h 414642"/>
                <a:gd name="connsiteX142" fmla="*/ 577199 w 607639"/>
                <a:gd name="connsiteY142" fmla="*/ 414642 h 414642"/>
                <a:gd name="connsiteX143" fmla="*/ 30351 w 607639"/>
                <a:gd name="connsiteY143" fmla="*/ 414642 h 414642"/>
                <a:gd name="connsiteX144" fmla="*/ 0 w 607639"/>
                <a:gd name="connsiteY144" fmla="*/ 384244 h 414642"/>
                <a:gd name="connsiteX145" fmla="*/ 0 w 607639"/>
                <a:gd name="connsiteY145" fmla="*/ 353935 h 414642"/>
                <a:gd name="connsiteX146" fmla="*/ 10147 w 607639"/>
                <a:gd name="connsiteY146" fmla="*/ 343802 h 414642"/>
                <a:gd name="connsiteX147" fmla="*/ 40497 w 607639"/>
                <a:gd name="connsiteY147" fmla="*/ 343802 h 414642"/>
                <a:gd name="connsiteX148" fmla="*/ 40497 w 607639"/>
                <a:gd name="connsiteY148" fmla="*/ 30309 h 414642"/>
                <a:gd name="connsiteX149" fmla="*/ 70848 w 607639"/>
                <a:gd name="connsiteY149" fmla="*/ 0 h 41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07639" h="414642">
                  <a:moveTo>
                    <a:pt x="20293" y="364067"/>
                  </a:moveTo>
                  <a:lnTo>
                    <a:pt x="20293" y="384244"/>
                  </a:lnTo>
                  <a:cubicBezTo>
                    <a:pt x="20293" y="390377"/>
                    <a:pt x="24299" y="394377"/>
                    <a:pt x="30351" y="394377"/>
                  </a:cubicBezTo>
                  <a:lnTo>
                    <a:pt x="577199" y="394377"/>
                  </a:lnTo>
                  <a:cubicBezTo>
                    <a:pt x="583341" y="394377"/>
                    <a:pt x="587346" y="390377"/>
                    <a:pt x="587346" y="384244"/>
                  </a:cubicBezTo>
                  <a:lnTo>
                    <a:pt x="587346" y="364067"/>
                  </a:lnTo>
                  <a:lnTo>
                    <a:pt x="556995" y="364067"/>
                  </a:lnTo>
                  <a:lnTo>
                    <a:pt x="394916" y="364067"/>
                  </a:lnTo>
                  <a:lnTo>
                    <a:pt x="394916" y="374200"/>
                  </a:lnTo>
                  <a:cubicBezTo>
                    <a:pt x="394916" y="380244"/>
                    <a:pt x="390911" y="384244"/>
                    <a:pt x="384859" y="384244"/>
                  </a:cubicBezTo>
                  <a:lnTo>
                    <a:pt x="222780" y="384244"/>
                  </a:lnTo>
                  <a:cubicBezTo>
                    <a:pt x="216728" y="384244"/>
                    <a:pt x="212634" y="380244"/>
                    <a:pt x="212634" y="374200"/>
                  </a:cubicBezTo>
                  <a:lnTo>
                    <a:pt x="212634" y="364067"/>
                  </a:lnTo>
                  <a:lnTo>
                    <a:pt x="50644" y="364067"/>
                  </a:lnTo>
                  <a:close/>
                  <a:moveTo>
                    <a:pt x="182270" y="262926"/>
                  </a:moveTo>
                  <a:lnTo>
                    <a:pt x="192432" y="262926"/>
                  </a:lnTo>
                  <a:cubicBezTo>
                    <a:pt x="198493" y="262926"/>
                    <a:pt x="202593" y="267012"/>
                    <a:pt x="202593" y="273052"/>
                  </a:cubicBezTo>
                  <a:cubicBezTo>
                    <a:pt x="202593" y="279092"/>
                    <a:pt x="198493" y="283178"/>
                    <a:pt x="192432" y="283178"/>
                  </a:cubicBezTo>
                  <a:lnTo>
                    <a:pt x="182270" y="283178"/>
                  </a:lnTo>
                  <a:cubicBezTo>
                    <a:pt x="176209" y="283178"/>
                    <a:pt x="172109" y="279092"/>
                    <a:pt x="172109" y="273052"/>
                  </a:cubicBezTo>
                  <a:cubicBezTo>
                    <a:pt x="172109" y="267012"/>
                    <a:pt x="176209" y="262926"/>
                    <a:pt x="182270" y="262926"/>
                  </a:cubicBezTo>
                  <a:close/>
                  <a:moveTo>
                    <a:pt x="91153" y="262926"/>
                  </a:moveTo>
                  <a:lnTo>
                    <a:pt x="141783" y="262926"/>
                  </a:lnTo>
                  <a:cubicBezTo>
                    <a:pt x="147834" y="262926"/>
                    <a:pt x="151927" y="267012"/>
                    <a:pt x="151927" y="273052"/>
                  </a:cubicBezTo>
                  <a:cubicBezTo>
                    <a:pt x="151927" y="279092"/>
                    <a:pt x="147834" y="283178"/>
                    <a:pt x="141783" y="283178"/>
                  </a:cubicBezTo>
                  <a:lnTo>
                    <a:pt x="91153" y="283178"/>
                  </a:lnTo>
                  <a:cubicBezTo>
                    <a:pt x="85102" y="283178"/>
                    <a:pt x="81009" y="279092"/>
                    <a:pt x="81009" y="273052"/>
                  </a:cubicBezTo>
                  <a:cubicBezTo>
                    <a:pt x="81009" y="267012"/>
                    <a:pt x="85102" y="262926"/>
                    <a:pt x="91153" y="262926"/>
                  </a:cubicBezTo>
                  <a:close/>
                  <a:moveTo>
                    <a:pt x="161988" y="222493"/>
                  </a:moveTo>
                  <a:lnTo>
                    <a:pt x="232948" y="222493"/>
                  </a:lnTo>
                  <a:cubicBezTo>
                    <a:pt x="239002" y="222493"/>
                    <a:pt x="243098" y="226579"/>
                    <a:pt x="243098" y="232619"/>
                  </a:cubicBezTo>
                  <a:cubicBezTo>
                    <a:pt x="243098" y="238659"/>
                    <a:pt x="239002" y="242745"/>
                    <a:pt x="232948" y="242745"/>
                  </a:cubicBezTo>
                  <a:lnTo>
                    <a:pt x="161988" y="242745"/>
                  </a:lnTo>
                  <a:cubicBezTo>
                    <a:pt x="155934" y="242745"/>
                    <a:pt x="151927" y="238659"/>
                    <a:pt x="151927" y="232619"/>
                  </a:cubicBezTo>
                  <a:cubicBezTo>
                    <a:pt x="151927" y="226579"/>
                    <a:pt x="155934" y="222493"/>
                    <a:pt x="161988" y="222493"/>
                  </a:cubicBezTo>
                  <a:close/>
                  <a:moveTo>
                    <a:pt x="91146" y="222493"/>
                  </a:moveTo>
                  <a:lnTo>
                    <a:pt x="121467" y="222493"/>
                  </a:lnTo>
                  <a:cubicBezTo>
                    <a:pt x="127603" y="222493"/>
                    <a:pt x="131604" y="226579"/>
                    <a:pt x="131604" y="232619"/>
                  </a:cubicBezTo>
                  <a:cubicBezTo>
                    <a:pt x="131604" y="238659"/>
                    <a:pt x="127603" y="242745"/>
                    <a:pt x="121467" y="242745"/>
                  </a:cubicBezTo>
                  <a:lnTo>
                    <a:pt x="91146" y="242745"/>
                  </a:lnTo>
                  <a:cubicBezTo>
                    <a:pt x="85099" y="242745"/>
                    <a:pt x="81009" y="238659"/>
                    <a:pt x="81009" y="232619"/>
                  </a:cubicBezTo>
                  <a:cubicBezTo>
                    <a:pt x="81009" y="226579"/>
                    <a:pt x="85099" y="222493"/>
                    <a:pt x="91146" y="222493"/>
                  </a:cubicBezTo>
                  <a:close/>
                  <a:moveTo>
                    <a:pt x="182270" y="182059"/>
                  </a:moveTo>
                  <a:lnTo>
                    <a:pt x="192432" y="182059"/>
                  </a:lnTo>
                  <a:cubicBezTo>
                    <a:pt x="198493" y="182059"/>
                    <a:pt x="202593" y="186060"/>
                    <a:pt x="202593" y="192195"/>
                  </a:cubicBezTo>
                  <a:cubicBezTo>
                    <a:pt x="202593" y="198240"/>
                    <a:pt x="198493" y="202241"/>
                    <a:pt x="192432" y="202241"/>
                  </a:cubicBezTo>
                  <a:lnTo>
                    <a:pt x="182270" y="202241"/>
                  </a:lnTo>
                  <a:cubicBezTo>
                    <a:pt x="176209" y="202241"/>
                    <a:pt x="172109" y="198240"/>
                    <a:pt x="172109" y="192195"/>
                  </a:cubicBezTo>
                  <a:cubicBezTo>
                    <a:pt x="172109" y="186060"/>
                    <a:pt x="176209" y="182059"/>
                    <a:pt x="182270" y="182059"/>
                  </a:cubicBezTo>
                  <a:close/>
                  <a:moveTo>
                    <a:pt x="91153" y="182059"/>
                  </a:moveTo>
                  <a:lnTo>
                    <a:pt x="141783" y="182059"/>
                  </a:lnTo>
                  <a:cubicBezTo>
                    <a:pt x="147834" y="182059"/>
                    <a:pt x="151927" y="186060"/>
                    <a:pt x="151927" y="192195"/>
                  </a:cubicBezTo>
                  <a:cubicBezTo>
                    <a:pt x="151927" y="198240"/>
                    <a:pt x="147834" y="202241"/>
                    <a:pt x="141783" y="202241"/>
                  </a:cubicBezTo>
                  <a:lnTo>
                    <a:pt x="91153" y="202241"/>
                  </a:lnTo>
                  <a:cubicBezTo>
                    <a:pt x="85102" y="202241"/>
                    <a:pt x="81009" y="198240"/>
                    <a:pt x="81009" y="192195"/>
                  </a:cubicBezTo>
                  <a:cubicBezTo>
                    <a:pt x="81009" y="186060"/>
                    <a:pt x="85102" y="182059"/>
                    <a:pt x="91153" y="182059"/>
                  </a:cubicBezTo>
                  <a:close/>
                  <a:moveTo>
                    <a:pt x="161988" y="141625"/>
                  </a:moveTo>
                  <a:lnTo>
                    <a:pt x="232948" y="141625"/>
                  </a:lnTo>
                  <a:cubicBezTo>
                    <a:pt x="239002" y="141625"/>
                    <a:pt x="243098" y="145626"/>
                    <a:pt x="243098" y="151761"/>
                  </a:cubicBezTo>
                  <a:cubicBezTo>
                    <a:pt x="243098" y="157806"/>
                    <a:pt x="239002" y="161807"/>
                    <a:pt x="232948" y="161807"/>
                  </a:cubicBezTo>
                  <a:lnTo>
                    <a:pt x="161988" y="161807"/>
                  </a:lnTo>
                  <a:cubicBezTo>
                    <a:pt x="155934" y="161807"/>
                    <a:pt x="151927" y="157806"/>
                    <a:pt x="151927" y="151761"/>
                  </a:cubicBezTo>
                  <a:cubicBezTo>
                    <a:pt x="151927" y="145626"/>
                    <a:pt x="155934" y="141625"/>
                    <a:pt x="161988" y="141625"/>
                  </a:cubicBezTo>
                  <a:close/>
                  <a:moveTo>
                    <a:pt x="91146" y="141625"/>
                  </a:moveTo>
                  <a:lnTo>
                    <a:pt x="121467" y="141625"/>
                  </a:lnTo>
                  <a:cubicBezTo>
                    <a:pt x="127603" y="141625"/>
                    <a:pt x="131604" y="145626"/>
                    <a:pt x="131604" y="151761"/>
                  </a:cubicBezTo>
                  <a:cubicBezTo>
                    <a:pt x="131604" y="157806"/>
                    <a:pt x="127603" y="161807"/>
                    <a:pt x="121467" y="161807"/>
                  </a:cubicBezTo>
                  <a:lnTo>
                    <a:pt x="91146" y="161807"/>
                  </a:lnTo>
                  <a:cubicBezTo>
                    <a:pt x="85099" y="161807"/>
                    <a:pt x="81009" y="157806"/>
                    <a:pt x="81009" y="151761"/>
                  </a:cubicBezTo>
                  <a:cubicBezTo>
                    <a:pt x="81009" y="145626"/>
                    <a:pt x="85099" y="141625"/>
                    <a:pt x="91146" y="141625"/>
                  </a:cubicBezTo>
                  <a:close/>
                  <a:moveTo>
                    <a:pt x="364566" y="102176"/>
                  </a:moveTo>
                  <a:cubicBezTo>
                    <a:pt x="318996" y="107241"/>
                    <a:pt x="283573" y="145630"/>
                    <a:pt x="283573" y="192194"/>
                  </a:cubicBezTo>
                  <a:cubicBezTo>
                    <a:pt x="283573" y="242756"/>
                    <a:pt x="324069" y="283188"/>
                    <a:pt x="374712" y="283188"/>
                  </a:cubicBezTo>
                  <a:cubicBezTo>
                    <a:pt x="421261" y="283188"/>
                    <a:pt x="459799" y="247732"/>
                    <a:pt x="464783" y="202235"/>
                  </a:cubicBezTo>
                  <a:lnTo>
                    <a:pt x="374712" y="202235"/>
                  </a:lnTo>
                  <a:cubicBezTo>
                    <a:pt x="368660" y="202235"/>
                    <a:pt x="364566" y="198236"/>
                    <a:pt x="364566" y="192194"/>
                  </a:cubicBezTo>
                  <a:close/>
                  <a:moveTo>
                    <a:pt x="182270" y="101191"/>
                  </a:moveTo>
                  <a:lnTo>
                    <a:pt x="192432" y="101191"/>
                  </a:lnTo>
                  <a:cubicBezTo>
                    <a:pt x="198493" y="101191"/>
                    <a:pt x="202593" y="105192"/>
                    <a:pt x="202593" y="111238"/>
                  </a:cubicBezTo>
                  <a:cubicBezTo>
                    <a:pt x="202593" y="117372"/>
                    <a:pt x="198493" y="121373"/>
                    <a:pt x="192432" y="121373"/>
                  </a:cubicBezTo>
                  <a:lnTo>
                    <a:pt x="182270" y="121373"/>
                  </a:lnTo>
                  <a:cubicBezTo>
                    <a:pt x="176209" y="121373"/>
                    <a:pt x="172109" y="117372"/>
                    <a:pt x="172109" y="111238"/>
                  </a:cubicBezTo>
                  <a:cubicBezTo>
                    <a:pt x="172109" y="105192"/>
                    <a:pt x="176209" y="101191"/>
                    <a:pt x="182270" y="101191"/>
                  </a:cubicBezTo>
                  <a:close/>
                  <a:moveTo>
                    <a:pt x="91153" y="101191"/>
                  </a:moveTo>
                  <a:lnTo>
                    <a:pt x="141783" y="101191"/>
                  </a:lnTo>
                  <a:cubicBezTo>
                    <a:pt x="147834" y="101191"/>
                    <a:pt x="151927" y="105192"/>
                    <a:pt x="151927" y="111238"/>
                  </a:cubicBezTo>
                  <a:cubicBezTo>
                    <a:pt x="151927" y="117372"/>
                    <a:pt x="147834" y="121373"/>
                    <a:pt x="141783" y="121373"/>
                  </a:cubicBezTo>
                  <a:lnTo>
                    <a:pt x="91153" y="121373"/>
                  </a:lnTo>
                  <a:cubicBezTo>
                    <a:pt x="85102" y="121373"/>
                    <a:pt x="81009" y="117372"/>
                    <a:pt x="81009" y="111238"/>
                  </a:cubicBezTo>
                  <a:cubicBezTo>
                    <a:pt x="81009" y="105192"/>
                    <a:pt x="85102" y="101191"/>
                    <a:pt x="91153" y="101191"/>
                  </a:cubicBezTo>
                  <a:close/>
                  <a:moveTo>
                    <a:pt x="374712" y="80938"/>
                  </a:moveTo>
                  <a:cubicBezTo>
                    <a:pt x="380764" y="80938"/>
                    <a:pt x="384858" y="85026"/>
                    <a:pt x="384858" y="91068"/>
                  </a:cubicBezTo>
                  <a:lnTo>
                    <a:pt x="384858" y="182063"/>
                  </a:lnTo>
                  <a:lnTo>
                    <a:pt x="475998" y="182063"/>
                  </a:lnTo>
                  <a:cubicBezTo>
                    <a:pt x="482050" y="182063"/>
                    <a:pt x="486055" y="186062"/>
                    <a:pt x="486055" y="192194"/>
                  </a:cubicBezTo>
                  <a:cubicBezTo>
                    <a:pt x="486055" y="253864"/>
                    <a:pt x="436480" y="303360"/>
                    <a:pt x="374712" y="303360"/>
                  </a:cubicBezTo>
                  <a:cubicBezTo>
                    <a:pt x="312944" y="303360"/>
                    <a:pt x="263280" y="253864"/>
                    <a:pt x="263280" y="192194"/>
                  </a:cubicBezTo>
                  <a:cubicBezTo>
                    <a:pt x="263280" y="130523"/>
                    <a:pt x="312944" y="80938"/>
                    <a:pt x="374712" y="80938"/>
                  </a:cubicBezTo>
                  <a:close/>
                  <a:moveTo>
                    <a:pt x="425343" y="61744"/>
                  </a:moveTo>
                  <a:lnTo>
                    <a:pt x="425343" y="141635"/>
                  </a:lnTo>
                  <a:lnTo>
                    <a:pt x="505373" y="141635"/>
                  </a:lnTo>
                  <a:cubicBezTo>
                    <a:pt x="500299" y="99157"/>
                    <a:pt x="466827" y="65743"/>
                    <a:pt x="425343" y="61744"/>
                  </a:cubicBezTo>
                  <a:close/>
                  <a:moveTo>
                    <a:pt x="161988" y="60757"/>
                  </a:moveTo>
                  <a:lnTo>
                    <a:pt x="232948" y="60757"/>
                  </a:lnTo>
                  <a:cubicBezTo>
                    <a:pt x="239002" y="60757"/>
                    <a:pt x="243098" y="64758"/>
                    <a:pt x="243098" y="70804"/>
                  </a:cubicBezTo>
                  <a:cubicBezTo>
                    <a:pt x="243098" y="76938"/>
                    <a:pt x="239002" y="80939"/>
                    <a:pt x="232948" y="80939"/>
                  </a:cubicBezTo>
                  <a:lnTo>
                    <a:pt x="161988" y="80939"/>
                  </a:lnTo>
                  <a:cubicBezTo>
                    <a:pt x="155934" y="80939"/>
                    <a:pt x="151927" y="76938"/>
                    <a:pt x="151927" y="70804"/>
                  </a:cubicBezTo>
                  <a:cubicBezTo>
                    <a:pt x="151927" y="64758"/>
                    <a:pt x="155934" y="60757"/>
                    <a:pt x="161988" y="60757"/>
                  </a:cubicBezTo>
                  <a:close/>
                  <a:moveTo>
                    <a:pt x="91146" y="60757"/>
                  </a:moveTo>
                  <a:lnTo>
                    <a:pt x="121467" y="60757"/>
                  </a:lnTo>
                  <a:cubicBezTo>
                    <a:pt x="127603" y="60757"/>
                    <a:pt x="131604" y="64758"/>
                    <a:pt x="131604" y="70804"/>
                  </a:cubicBezTo>
                  <a:cubicBezTo>
                    <a:pt x="131604" y="76938"/>
                    <a:pt x="127603" y="80939"/>
                    <a:pt x="121467" y="80939"/>
                  </a:cubicBezTo>
                  <a:lnTo>
                    <a:pt x="91146" y="80939"/>
                  </a:lnTo>
                  <a:cubicBezTo>
                    <a:pt x="85099" y="80939"/>
                    <a:pt x="81009" y="76938"/>
                    <a:pt x="81009" y="70804"/>
                  </a:cubicBezTo>
                  <a:cubicBezTo>
                    <a:pt x="81009" y="64758"/>
                    <a:pt x="85099" y="60757"/>
                    <a:pt x="91146" y="60757"/>
                  </a:cubicBezTo>
                  <a:close/>
                  <a:moveTo>
                    <a:pt x="415194" y="40505"/>
                  </a:moveTo>
                  <a:cubicBezTo>
                    <a:pt x="476975" y="40505"/>
                    <a:pt x="526560" y="90092"/>
                    <a:pt x="526560" y="151765"/>
                  </a:cubicBezTo>
                  <a:cubicBezTo>
                    <a:pt x="526560" y="157808"/>
                    <a:pt x="522554" y="161807"/>
                    <a:pt x="516501" y="161807"/>
                  </a:cubicBezTo>
                  <a:lnTo>
                    <a:pt x="415194" y="161807"/>
                  </a:lnTo>
                  <a:cubicBezTo>
                    <a:pt x="409141" y="161807"/>
                    <a:pt x="405046" y="157808"/>
                    <a:pt x="405046" y="151765"/>
                  </a:cubicBezTo>
                  <a:lnTo>
                    <a:pt x="405046" y="50636"/>
                  </a:lnTo>
                  <a:cubicBezTo>
                    <a:pt x="405046" y="44593"/>
                    <a:pt x="409141" y="40505"/>
                    <a:pt x="415194" y="40505"/>
                  </a:cubicBezTo>
                  <a:close/>
                  <a:moveTo>
                    <a:pt x="70848" y="20177"/>
                  </a:moveTo>
                  <a:cubicBezTo>
                    <a:pt x="64796" y="20177"/>
                    <a:pt x="60791" y="24265"/>
                    <a:pt x="60791" y="30309"/>
                  </a:cubicBezTo>
                  <a:lnTo>
                    <a:pt x="60791" y="343802"/>
                  </a:lnTo>
                  <a:lnTo>
                    <a:pt x="222780" y="343802"/>
                  </a:lnTo>
                  <a:cubicBezTo>
                    <a:pt x="228833" y="343802"/>
                    <a:pt x="232927" y="347891"/>
                    <a:pt x="232927" y="353935"/>
                  </a:cubicBezTo>
                  <a:lnTo>
                    <a:pt x="232927" y="364067"/>
                  </a:lnTo>
                  <a:lnTo>
                    <a:pt x="374712" y="364067"/>
                  </a:lnTo>
                  <a:lnTo>
                    <a:pt x="374712" y="353935"/>
                  </a:lnTo>
                  <a:cubicBezTo>
                    <a:pt x="374712" y="347891"/>
                    <a:pt x="378718" y="343802"/>
                    <a:pt x="384859" y="343802"/>
                  </a:cubicBezTo>
                  <a:lnTo>
                    <a:pt x="546848" y="343802"/>
                  </a:lnTo>
                  <a:lnTo>
                    <a:pt x="546848" y="30309"/>
                  </a:lnTo>
                  <a:cubicBezTo>
                    <a:pt x="546848" y="24265"/>
                    <a:pt x="542754" y="20177"/>
                    <a:pt x="536702" y="20177"/>
                  </a:cubicBezTo>
                  <a:close/>
                  <a:moveTo>
                    <a:pt x="70848" y="0"/>
                  </a:moveTo>
                  <a:lnTo>
                    <a:pt x="536702" y="0"/>
                  </a:lnTo>
                  <a:cubicBezTo>
                    <a:pt x="553969" y="0"/>
                    <a:pt x="567142" y="13155"/>
                    <a:pt x="567142" y="30309"/>
                  </a:cubicBezTo>
                  <a:lnTo>
                    <a:pt x="567142" y="343802"/>
                  </a:lnTo>
                  <a:lnTo>
                    <a:pt x="597492" y="343802"/>
                  </a:lnTo>
                  <a:cubicBezTo>
                    <a:pt x="603545" y="343802"/>
                    <a:pt x="607639" y="347891"/>
                    <a:pt x="607639" y="353935"/>
                  </a:cubicBezTo>
                  <a:lnTo>
                    <a:pt x="607639" y="384244"/>
                  </a:lnTo>
                  <a:cubicBezTo>
                    <a:pt x="607639" y="401487"/>
                    <a:pt x="594466" y="414642"/>
                    <a:pt x="577199" y="414642"/>
                  </a:cubicBezTo>
                  <a:lnTo>
                    <a:pt x="30351" y="414642"/>
                  </a:lnTo>
                  <a:cubicBezTo>
                    <a:pt x="13173" y="414642"/>
                    <a:pt x="0" y="401487"/>
                    <a:pt x="0" y="384244"/>
                  </a:cubicBezTo>
                  <a:lnTo>
                    <a:pt x="0" y="353935"/>
                  </a:lnTo>
                  <a:cubicBezTo>
                    <a:pt x="0" y="347891"/>
                    <a:pt x="4094" y="343802"/>
                    <a:pt x="10147" y="343802"/>
                  </a:cubicBezTo>
                  <a:lnTo>
                    <a:pt x="40497" y="343802"/>
                  </a:lnTo>
                  <a:lnTo>
                    <a:pt x="40497" y="30309"/>
                  </a:lnTo>
                  <a:cubicBezTo>
                    <a:pt x="40497" y="13155"/>
                    <a:pt x="53670" y="0"/>
                    <a:pt x="70848" y="0"/>
                  </a:cubicBez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lang="en-US" sz="7198" dirty="0"/>
            </a:p>
          </p:txBody>
        </p:sp>
        <p:sp>
          <p:nvSpPr>
            <p:cNvPr id="16" name="íŝliḓê">
              <a:extLst>
                <a:ext uri="{FF2B5EF4-FFF2-40B4-BE49-F238E27FC236}">
                  <a16:creationId xmlns:a16="http://schemas.microsoft.com/office/drawing/2014/main" id="{39340196-E1AA-4B49-976A-BF366BB2B662}"/>
                </a:ext>
              </a:extLst>
            </p:cNvPr>
            <p:cNvSpPr/>
            <p:nvPr/>
          </p:nvSpPr>
          <p:spPr bwMode="auto">
            <a:xfrm>
              <a:off x="8583960" y="4019173"/>
              <a:ext cx="2108063"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监听鼠标点击事件</a:t>
              </a:r>
              <a:endParaRPr lang="en-US" altLang="zh-CN" sz="1100" dirty="0"/>
            </a:p>
          </p:txBody>
        </p:sp>
        <p:sp>
          <p:nvSpPr>
            <p:cNvPr id="17" name="î$ḻïdè">
              <a:extLst>
                <a:ext uri="{FF2B5EF4-FFF2-40B4-BE49-F238E27FC236}">
                  <a16:creationId xmlns:a16="http://schemas.microsoft.com/office/drawing/2014/main" id="{4D5C24C6-4DD0-4193-AD42-019C1134797B}"/>
                </a:ext>
              </a:extLst>
            </p:cNvPr>
            <p:cNvSpPr txBox="1"/>
            <p:nvPr/>
          </p:nvSpPr>
          <p:spPr bwMode="auto">
            <a:xfrm>
              <a:off x="8583960" y="3631575"/>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sz="1800" b="1" dirty="0" err="1"/>
                <a:t>UIEventTrigger</a:t>
              </a:r>
              <a:r>
                <a:rPr lang="zh-CN" altLang="en-US" sz="1800" b="1" dirty="0"/>
                <a:t>类</a:t>
              </a:r>
              <a:endParaRPr lang="en-US" altLang="zh-CN" sz="1800" b="1" dirty="0"/>
            </a:p>
          </p:txBody>
        </p:sp>
        <p:sp>
          <p:nvSpPr>
            <p:cNvPr id="18" name="íŝ1iḓê">
              <a:extLst>
                <a:ext uri="{FF2B5EF4-FFF2-40B4-BE49-F238E27FC236}">
                  <a16:creationId xmlns:a16="http://schemas.microsoft.com/office/drawing/2014/main" id="{39340196-E1AA-4B49-976A-BF366BB2B662}"/>
                </a:ext>
              </a:extLst>
            </p:cNvPr>
            <p:cNvSpPr/>
            <p:nvPr/>
          </p:nvSpPr>
          <p:spPr bwMode="auto">
            <a:xfrm>
              <a:off x="7496562" y="5279176"/>
              <a:ext cx="2373579"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为所有</a:t>
              </a:r>
              <a:r>
                <a:rPr lang="en-US" altLang="zh-CN" sz="1100" dirty="0"/>
                <a:t>UI</a:t>
              </a:r>
              <a:r>
                <a:rPr lang="zh-CN" altLang="en-US" sz="1100" dirty="0"/>
                <a:t>类的基类，提供了显示、注册事件、关闭等可被子类重写的虚方法</a:t>
              </a:r>
              <a:endParaRPr lang="en-US" altLang="zh-CN" sz="1100" dirty="0"/>
            </a:p>
          </p:txBody>
        </p:sp>
        <p:sp>
          <p:nvSpPr>
            <p:cNvPr id="19" name="ïṩļiḑé">
              <a:extLst>
                <a:ext uri="{FF2B5EF4-FFF2-40B4-BE49-F238E27FC236}">
                  <a16:creationId xmlns:a16="http://schemas.microsoft.com/office/drawing/2014/main" id="{4D5C24C6-4DD0-4193-AD42-019C1134797B}"/>
                </a:ext>
              </a:extLst>
            </p:cNvPr>
            <p:cNvSpPr txBox="1"/>
            <p:nvPr/>
          </p:nvSpPr>
          <p:spPr bwMode="auto">
            <a:xfrm>
              <a:off x="7496562" y="4891578"/>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sz="1800" b="1" dirty="0" err="1"/>
                <a:t>UIBase</a:t>
              </a:r>
              <a:r>
                <a:rPr lang="zh-CN" altLang="en-US" sz="1800" b="1" dirty="0"/>
                <a:t>类</a:t>
              </a:r>
              <a:endParaRPr lang="en-US" altLang="zh-CN" sz="1800" b="1" dirty="0"/>
            </a:p>
          </p:txBody>
        </p:sp>
        <p:sp>
          <p:nvSpPr>
            <p:cNvPr id="20" name="ï$1iḍê">
              <a:extLst>
                <a:ext uri="{FF2B5EF4-FFF2-40B4-BE49-F238E27FC236}">
                  <a16:creationId xmlns:a16="http://schemas.microsoft.com/office/drawing/2014/main" id="{39340196-E1AA-4B49-976A-BF366BB2B662}"/>
                </a:ext>
              </a:extLst>
            </p:cNvPr>
            <p:cNvSpPr/>
            <p:nvPr/>
          </p:nvSpPr>
          <p:spPr bwMode="auto">
            <a:xfrm>
              <a:off x="2578858" y="4542198"/>
              <a:ext cx="2108063"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zh-CN" altLang="en-US" sz="1100" dirty="0"/>
                <a:t>管理所有</a:t>
              </a:r>
              <a:r>
                <a:rPr lang="en-US" altLang="zh-CN" sz="1100" dirty="0"/>
                <a:t>UI</a:t>
              </a:r>
              <a:r>
                <a:rPr lang="zh-CN" altLang="en-US" sz="1100" dirty="0"/>
                <a:t>从资源到</a:t>
              </a:r>
              <a:endParaRPr lang="en-US" altLang="zh-CN" sz="1100" dirty="0"/>
            </a:p>
            <a:p>
              <a:pPr algn="r">
                <a:lnSpc>
                  <a:spcPct val="130000"/>
                </a:lnSpc>
              </a:pPr>
              <a:r>
                <a:rPr lang="zh-CN" altLang="en-US" sz="1100" dirty="0"/>
                <a:t>游戏内存的实例化</a:t>
              </a:r>
              <a:endParaRPr lang="en-US" altLang="zh-CN" sz="1100" dirty="0"/>
            </a:p>
          </p:txBody>
        </p:sp>
        <p:sp>
          <p:nvSpPr>
            <p:cNvPr id="21" name="iŝḻíḍè">
              <a:extLst>
                <a:ext uri="{FF2B5EF4-FFF2-40B4-BE49-F238E27FC236}">
                  <a16:creationId xmlns:a16="http://schemas.microsoft.com/office/drawing/2014/main" id="{4D5C24C6-4DD0-4193-AD42-019C1134797B}"/>
                </a:ext>
              </a:extLst>
            </p:cNvPr>
            <p:cNvSpPr txBox="1"/>
            <p:nvPr/>
          </p:nvSpPr>
          <p:spPr bwMode="auto">
            <a:xfrm>
              <a:off x="2578858" y="4154600"/>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err="1"/>
                <a:t>UIManager</a:t>
              </a:r>
              <a:r>
                <a:rPr lang="zh-CN" altLang="en-US" sz="1800" b="1" dirty="0"/>
                <a:t>类</a:t>
              </a:r>
              <a:endParaRPr lang="en-US" altLang="zh-CN" sz="1800" b="1" dirty="0"/>
            </a:p>
          </p:txBody>
        </p:sp>
        <p:sp>
          <p:nvSpPr>
            <p:cNvPr id="22" name="išḷîḍe">
              <a:extLst>
                <a:ext uri="{FF2B5EF4-FFF2-40B4-BE49-F238E27FC236}">
                  <a16:creationId xmlns:a16="http://schemas.microsoft.com/office/drawing/2014/main" id="{791BB12B-58F7-4D5C-9471-E4DF81654F7A}"/>
                </a:ext>
              </a:extLst>
            </p:cNvPr>
            <p:cNvSpPr txBox="1"/>
            <p:nvPr/>
          </p:nvSpPr>
          <p:spPr>
            <a:xfrm>
              <a:off x="932510" y="1641733"/>
              <a:ext cx="5701372" cy="1468059"/>
            </a:xfrm>
            <a:prstGeom prst="rect">
              <a:avLst/>
            </a:prstGeom>
            <a:noFill/>
          </p:spPr>
          <p:txBody>
            <a:bodyPr wrap="square" lIns="90000" tIns="46800" rIns="90000" bIns="46800" rtlCol="0">
              <a:normAutofit fontScale="92500"/>
            </a:bodyPr>
            <a:lstStyle/>
            <a:p>
              <a:pPr>
                <a:lnSpc>
                  <a:spcPct val="150000"/>
                </a:lnSpc>
              </a:pPr>
              <a:r>
                <a:rPr lang="en-US" altLang="zh-CN" sz="1700" b="1" dirty="0"/>
                <a:t>UI</a:t>
              </a:r>
              <a:r>
                <a:rPr lang="zh-CN" altLang="en-US" sz="1700" b="1" dirty="0"/>
                <a:t>管理系统主要负责游戏中用户界面的实例化、功能实现以及更新，整个系统由若干类共同构成，主要分为</a:t>
              </a:r>
              <a:r>
                <a:rPr lang="en-US" altLang="zh-CN" sz="1700" b="1" dirty="0" err="1"/>
                <a:t>UIManager</a:t>
              </a:r>
              <a:r>
                <a:rPr lang="zh-CN" altLang="en-US" sz="1700" b="1" dirty="0"/>
                <a:t>类，</a:t>
              </a:r>
              <a:r>
                <a:rPr lang="en-US" altLang="zh-CN" sz="1700" b="1" dirty="0" err="1"/>
                <a:t>UIBase</a:t>
              </a:r>
              <a:r>
                <a:rPr lang="zh-CN" altLang="en-US" sz="1700" b="1" dirty="0"/>
                <a:t>类及其派生类以及</a:t>
              </a:r>
              <a:r>
                <a:rPr lang="en-US" altLang="zh-CN" sz="1700" b="1" dirty="0" err="1"/>
                <a:t>UIEventTrigger</a:t>
              </a:r>
              <a:r>
                <a:rPr lang="zh-CN" altLang="en-US" sz="1700" b="1" dirty="0"/>
                <a:t>类。</a:t>
              </a:r>
              <a:endParaRPr lang="en-US" altLang="zh-CN" sz="1700" b="1" dirty="0"/>
            </a:p>
          </p:txBody>
        </p:sp>
        <p:sp>
          <p:nvSpPr>
            <p:cNvPr id="23" name="íślïdé">
              <a:extLst>
                <a:ext uri="{FF2B5EF4-FFF2-40B4-BE49-F238E27FC236}">
                  <a16:creationId xmlns:a16="http://schemas.microsoft.com/office/drawing/2014/main" id="{85E35728-BF93-45B0-A979-0EEBD0BB6897}"/>
                </a:ext>
              </a:extLst>
            </p:cNvPr>
            <p:cNvSpPr txBox="1"/>
            <p:nvPr/>
          </p:nvSpPr>
          <p:spPr>
            <a:xfrm>
              <a:off x="762343" y="1179000"/>
              <a:ext cx="413883" cy="395777"/>
            </a:xfrm>
            <a:prstGeom prst="rect">
              <a:avLst/>
            </a:prstGeom>
            <a:noFill/>
          </p:spPr>
          <p:txBody>
            <a:bodyPr wrap="square" lIns="90000" tIns="46800" rIns="90000" bIns="46800" anchor="ctr">
              <a:prstTxWarp prst="textPlain">
                <a:avLst/>
              </a:prstTxWarp>
              <a:normAutofit fontScale="47500" lnSpcReduction="20000"/>
            </a:bodyPr>
            <a:lstStyle/>
            <a:p>
              <a:r>
                <a:rPr lang="en-US" sz="4800" dirty="0">
                  <a:solidFill>
                    <a:schemeClr val="bg1">
                      <a:lumMod val="85000"/>
                    </a:schemeClr>
                  </a:solidFill>
                </a:rPr>
                <a:t>“</a:t>
              </a:r>
            </a:p>
          </p:txBody>
        </p:sp>
      </p:grpSp>
    </p:spTree>
    <p:extLst>
      <p:ext uri="{BB962C8B-B14F-4D97-AF65-F5344CB8AC3E}">
        <p14:creationId xmlns:p14="http://schemas.microsoft.com/office/powerpoint/2010/main" val="1946977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F373F74-D3B6-4B50-A1FE-228EE485DBA7}"/>
              </a:ext>
            </a:extLst>
          </p:cNvPr>
          <p:cNvSpPr>
            <a:spLocks noGrp="1"/>
          </p:cNvSpPr>
          <p:nvPr>
            <p:ph type="title"/>
          </p:nvPr>
        </p:nvSpPr>
        <p:spPr/>
        <p:txBody>
          <a:bodyPr/>
          <a:lstStyle/>
          <a:p>
            <a:r>
              <a:rPr lang="zh-CN" altLang="en-US" dirty="0"/>
              <a:t>音效管理系统</a:t>
            </a:r>
          </a:p>
        </p:txBody>
      </p:sp>
      <p:sp>
        <p:nvSpPr>
          <p:cNvPr id="4" name="灯片编号占位符 3">
            <a:extLst>
              <a:ext uri="{FF2B5EF4-FFF2-40B4-BE49-F238E27FC236}">
                <a16:creationId xmlns:a16="http://schemas.microsoft.com/office/drawing/2014/main" id="{6B34D11E-C1AF-4D55-AB21-20DEA6F88110}"/>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pic>
        <p:nvPicPr>
          <p:cNvPr id="30" name="图片 29">
            <a:extLst>
              <a:ext uri="{FF2B5EF4-FFF2-40B4-BE49-F238E27FC236}">
                <a16:creationId xmlns:a16="http://schemas.microsoft.com/office/drawing/2014/main" id="{5753D925-2247-77BE-1905-6F97F2E9BBC8}"/>
              </a:ext>
            </a:extLst>
          </p:cNvPr>
          <p:cNvPicPr>
            <a:picLocks noChangeAspect="1"/>
          </p:cNvPicPr>
          <p:nvPr/>
        </p:nvPicPr>
        <p:blipFill>
          <a:blip r:embed="rId2"/>
          <a:stretch>
            <a:fillRect/>
          </a:stretch>
        </p:blipFill>
        <p:spPr>
          <a:xfrm>
            <a:off x="5137140" y="1528482"/>
            <a:ext cx="6383347" cy="4047565"/>
          </a:xfrm>
          <a:prstGeom prst="rect">
            <a:avLst/>
          </a:prstGeom>
          <a:noFill/>
          <a:ln>
            <a:noFill/>
          </a:ln>
        </p:spPr>
      </p:pic>
      <p:sp>
        <p:nvSpPr>
          <p:cNvPr id="32" name="文本框 31">
            <a:extLst>
              <a:ext uri="{FF2B5EF4-FFF2-40B4-BE49-F238E27FC236}">
                <a16:creationId xmlns:a16="http://schemas.microsoft.com/office/drawing/2014/main" id="{11497E3A-8099-3827-A748-D2A8A1E1FA7C}"/>
              </a:ext>
            </a:extLst>
          </p:cNvPr>
          <p:cNvSpPr txBox="1"/>
          <p:nvPr/>
        </p:nvSpPr>
        <p:spPr>
          <a:xfrm>
            <a:off x="669924" y="2521059"/>
            <a:ext cx="4177553" cy="1815882"/>
          </a:xfrm>
          <a:prstGeom prst="rect">
            <a:avLst/>
          </a:prstGeom>
          <a:noFill/>
        </p:spPr>
        <p:txBody>
          <a:bodyPr wrap="square">
            <a:spAutoFit/>
          </a:bodyPr>
          <a:lstStyle/>
          <a:p>
            <a:pPr indent="266700" algn="just"/>
            <a:r>
              <a:rPr lang="en-US" altLang="zh-CN" sz="1600" b="1" dirty="0"/>
              <a:t>   </a:t>
            </a:r>
            <a:r>
              <a:rPr lang="zh-CN" altLang="zh-CN" sz="1600" b="1" dirty="0"/>
              <a:t>由音效管理器</a:t>
            </a:r>
            <a:r>
              <a:rPr lang="en-US" altLang="zh-CN" sz="1600" b="1" dirty="0" err="1"/>
              <a:t>AudioManager</a:t>
            </a:r>
            <a:r>
              <a:rPr lang="zh-CN" altLang="zh-CN" sz="1600" b="1" dirty="0"/>
              <a:t>单个类实现，该类为单例模式，在游戏主循环中</a:t>
            </a:r>
            <a:r>
              <a:rPr lang="en-US" altLang="zh-CN" sz="1600" b="1" dirty="0"/>
              <a:t>start()</a:t>
            </a:r>
            <a:r>
              <a:rPr lang="zh-CN" altLang="zh-CN" sz="1600" b="1" dirty="0"/>
              <a:t>位置完成初始化与实例化，可被其他脚本在需要播放音乐或音效时调用。</a:t>
            </a:r>
          </a:p>
          <a:p>
            <a:pPr indent="266700" algn="just"/>
            <a:r>
              <a:rPr lang="en-US" altLang="zh-CN" sz="1600" b="1" dirty="0"/>
              <a:t>   </a:t>
            </a:r>
            <a:r>
              <a:rPr lang="zh-CN" altLang="zh-CN" sz="1600" b="1" dirty="0"/>
              <a:t>其核心方法为</a:t>
            </a:r>
            <a:r>
              <a:rPr lang="en-US" altLang="zh-CN" sz="1600" b="1" dirty="0" err="1"/>
              <a:t>PlayBGM</a:t>
            </a:r>
            <a:r>
              <a:rPr lang="zh-CN" altLang="zh-CN" sz="1600" b="1" dirty="0"/>
              <a:t>与</a:t>
            </a:r>
            <a:r>
              <a:rPr lang="en-US" altLang="zh-CN" sz="1600" b="1" dirty="0" err="1"/>
              <a:t>PlayEffect</a:t>
            </a:r>
            <a:r>
              <a:rPr lang="zh-CN" altLang="zh-CN" sz="1600" b="1" dirty="0"/>
              <a:t>，两者分别接受需播放音频的名字</a:t>
            </a:r>
            <a:r>
              <a:rPr lang="en-US" altLang="zh-CN" sz="1600" b="1" dirty="0"/>
              <a:t>string</a:t>
            </a:r>
            <a:r>
              <a:rPr lang="zh-CN" altLang="zh-CN" sz="1600" b="1" dirty="0"/>
              <a:t>作为参数，从</a:t>
            </a:r>
            <a:r>
              <a:rPr lang="en-US" altLang="zh-CN" sz="1600" b="1" dirty="0"/>
              <a:t>Resources</a:t>
            </a:r>
            <a:r>
              <a:rPr lang="zh-CN" altLang="zh-CN" sz="1600" b="1" dirty="0"/>
              <a:t>中播放对应音效资源。</a:t>
            </a:r>
          </a:p>
        </p:txBody>
      </p:sp>
    </p:spTree>
    <p:extLst>
      <p:ext uri="{BB962C8B-B14F-4D97-AF65-F5344CB8AC3E}">
        <p14:creationId xmlns:p14="http://schemas.microsoft.com/office/powerpoint/2010/main" val="755987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F373F74-D3B6-4B50-A1FE-228EE485DBA7}"/>
              </a:ext>
            </a:extLst>
          </p:cNvPr>
          <p:cNvSpPr>
            <a:spLocks noGrp="1"/>
          </p:cNvSpPr>
          <p:nvPr>
            <p:ph type="title"/>
          </p:nvPr>
        </p:nvSpPr>
        <p:spPr/>
        <p:txBody>
          <a:bodyPr/>
          <a:lstStyle/>
          <a:p>
            <a:r>
              <a:rPr lang="zh-CN" altLang="en-US" dirty="0"/>
              <a:t>信息配置系统</a:t>
            </a:r>
          </a:p>
        </p:txBody>
      </p:sp>
      <p:sp>
        <p:nvSpPr>
          <p:cNvPr id="4" name="灯片编号占位符 3">
            <a:extLst>
              <a:ext uri="{FF2B5EF4-FFF2-40B4-BE49-F238E27FC236}">
                <a16:creationId xmlns:a16="http://schemas.microsoft.com/office/drawing/2014/main" id="{6B34D11E-C1AF-4D55-AB21-20DEA6F88110}"/>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文本框 4">
            <a:extLst>
              <a:ext uri="{FF2B5EF4-FFF2-40B4-BE49-F238E27FC236}">
                <a16:creationId xmlns:a16="http://schemas.microsoft.com/office/drawing/2014/main" id="{D43E2CB6-EBB2-DA4D-64FE-02169CD19438}"/>
              </a:ext>
            </a:extLst>
          </p:cNvPr>
          <p:cNvSpPr txBox="1"/>
          <p:nvPr/>
        </p:nvSpPr>
        <p:spPr>
          <a:xfrm>
            <a:off x="669924" y="1126449"/>
            <a:ext cx="4583394" cy="1569660"/>
          </a:xfrm>
          <a:prstGeom prst="rect">
            <a:avLst/>
          </a:prstGeom>
          <a:noFill/>
        </p:spPr>
        <p:txBody>
          <a:bodyPr wrap="square">
            <a:spAutoFit/>
          </a:bodyPr>
          <a:lstStyle/>
          <a:p>
            <a:r>
              <a:rPr lang="en-US" altLang="zh-CN" sz="1600" b="1" dirty="0" err="1"/>
              <a:t>GameConfigData</a:t>
            </a:r>
            <a:r>
              <a:rPr lang="zh-CN" altLang="en-US" sz="1600" b="1" dirty="0"/>
              <a:t>类</a:t>
            </a:r>
          </a:p>
          <a:p>
            <a:r>
              <a:rPr lang="zh-CN" altLang="en-US" sz="1600" dirty="0"/>
              <a:t>为游戏配置表类，卡牌、卡牌类型、敌人、关卡等每一个类型的配置表对应一个配置表类，该类实现了从</a:t>
            </a:r>
            <a:r>
              <a:rPr lang="en-US" altLang="zh-CN" sz="1600" dirty="0"/>
              <a:t>txt</a:t>
            </a:r>
            <a:r>
              <a:rPr lang="zh-CN" altLang="en-US" sz="1600" dirty="0"/>
              <a:t>中读取配置表信息，并将每一行数据存储到一个字典中，构成一个字典列表，且为其他类提供了根据</a:t>
            </a:r>
            <a:r>
              <a:rPr lang="en-US" altLang="zh-CN" sz="1600" dirty="0"/>
              <a:t>Id</a:t>
            </a:r>
            <a:r>
              <a:rPr lang="zh-CN" altLang="en-US" sz="1600" dirty="0"/>
              <a:t>查询信息的方法。</a:t>
            </a:r>
          </a:p>
        </p:txBody>
      </p:sp>
      <p:pic>
        <p:nvPicPr>
          <p:cNvPr id="6" name="图片 5">
            <a:extLst>
              <a:ext uri="{FF2B5EF4-FFF2-40B4-BE49-F238E27FC236}">
                <a16:creationId xmlns:a16="http://schemas.microsoft.com/office/drawing/2014/main" id="{5D4BD27F-FFC5-55B2-41FC-BD885095384E}"/>
              </a:ext>
            </a:extLst>
          </p:cNvPr>
          <p:cNvPicPr>
            <a:picLocks noChangeAspect="1"/>
          </p:cNvPicPr>
          <p:nvPr/>
        </p:nvPicPr>
        <p:blipFill>
          <a:blip r:embed="rId2"/>
          <a:stretch>
            <a:fillRect/>
          </a:stretch>
        </p:blipFill>
        <p:spPr>
          <a:xfrm>
            <a:off x="669924" y="2696109"/>
            <a:ext cx="4476750" cy="4006850"/>
          </a:xfrm>
          <a:prstGeom prst="rect">
            <a:avLst/>
          </a:prstGeom>
          <a:noFill/>
          <a:ln>
            <a:noFill/>
          </a:ln>
        </p:spPr>
      </p:pic>
      <p:sp>
        <p:nvSpPr>
          <p:cNvPr id="8" name="文本框 7">
            <a:extLst>
              <a:ext uri="{FF2B5EF4-FFF2-40B4-BE49-F238E27FC236}">
                <a16:creationId xmlns:a16="http://schemas.microsoft.com/office/drawing/2014/main" id="{868798F9-39F2-04C0-482E-3FB8FE3D935B}"/>
              </a:ext>
            </a:extLst>
          </p:cNvPr>
          <p:cNvSpPr txBox="1"/>
          <p:nvPr/>
        </p:nvSpPr>
        <p:spPr>
          <a:xfrm>
            <a:off x="6938683" y="1132310"/>
            <a:ext cx="4581803" cy="1077218"/>
          </a:xfrm>
          <a:prstGeom prst="rect">
            <a:avLst/>
          </a:prstGeom>
          <a:noFill/>
        </p:spPr>
        <p:txBody>
          <a:bodyPr wrap="square">
            <a:spAutoFit/>
          </a:bodyPr>
          <a:lstStyle/>
          <a:p>
            <a:r>
              <a:rPr lang="en-US" altLang="zh-CN" sz="1600" b="1" dirty="0" err="1"/>
              <a:t>GameConfigManager</a:t>
            </a:r>
            <a:r>
              <a:rPr lang="zh-CN" altLang="en-US" sz="1600" b="1" dirty="0"/>
              <a:t>类</a:t>
            </a:r>
          </a:p>
          <a:p>
            <a:r>
              <a:rPr lang="zh-CN" altLang="en-US" sz="1600" dirty="0"/>
              <a:t>该类负责管理所有类型的配置表并为各个类型的配置表提供查询接口。该类为单例模式，便于其他脚本查询游戏配置信息。</a:t>
            </a:r>
          </a:p>
        </p:txBody>
      </p:sp>
      <p:pic>
        <p:nvPicPr>
          <p:cNvPr id="9" name="图片 8">
            <a:extLst>
              <a:ext uri="{FF2B5EF4-FFF2-40B4-BE49-F238E27FC236}">
                <a16:creationId xmlns:a16="http://schemas.microsoft.com/office/drawing/2014/main" id="{219D190D-2263-15AE-0A59-1E6F6D301292}"/>
              </a:ext>
            </a:extLst>
          </p:cNvPr>
          <p:cNvPicPr>
            <a:picLocks noChangeAspect="1"/>
          </p:cNvPicPr>
          <p:nvPr/>
        </p:nvPicPr>
        <p:blipFill>
          <a:blip r:embed="rId3"/>
          <a:stretch>
            <a:fillRect/>
          </a:stretch>
        </p:blipFill>
        <p:spPr>
          <a:xfrm>
            <a:off x="7045328" y="2696109"/>
            <a:ext cx="4475158" cy="4011986"/>
          </a:xfrm>
          <a:prstGeom prst="rect">
            <a:avLst/>
          </a:prstGeom>
          <a:noFill/>
          <a:ln>
            <a:noFill/>
          </a:ln>
        </p:spPr>
      </p:pic>
    </p:spTree>
    <p:extLst>
      <p:ext uri="{BB962C8B-B14F-4D97-AF65-F5344CB8AC3E}">
        <p14:creationId xmlns:p14="http://schemas.microsoft.com/office/powerpoint/2010/main" val="30228882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E651C31-5270-4AD5-8AA7-B6DE94FF9624}"/>
              </a:ext>
            </a:extLst>
          </p:cNvPr>
          <p:cNvSpPr>
            <a:spLocks noGrp="1"/>
          </p:cNvSpPr>
          <p:nvPr>
            <p:ph type="title"/>
          </p:nvPr>
        </p:nvSpPr>
        <p:spPr/>
        <p:txBody>
          <a:bodyPr/>
          <a:lstStyle/>
          <a:p>
            <a:r>
              <a:rPr lang="zh-CN" altLang="en-US" dirty="0"/>
              <a:t>战斗逻辑系统</a:t>
            </a:r>
          </a:p>
        </p:txBody>
      </p:sp>
      <p:sp>
        <p:nvSpPr>
          <p:cNvPr id="4" name="灯片编号占位符 3">
            <a:extLst>
              <a:ext uri="{FF2B5EF4-FFF2-40B4-BE49-F238E27FC236}">
                <a16:creationId xmlns:a16="http://schemas.microsoft.com/office/drawing/2014/main" id="{E1D15959-9A42-452F-B1AD-DAA244E0E42A}"/>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grpSp>
        <p:nvGrpSpPr>
          <p:cNvPr id="5" name="22440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56F4662-9D40-49E4-AA7C-E361B4036971}"/>
              </a:ext>
            </a:extLst>
          </p:cNvPr>
          <p:cNvGrpSpPr>
            <a:grpSpLocks noChangeAspect="1"/>
          </p:cNvGrpSpPr>
          <p:nvPr>
            <p:custDataLst>
              <p:tags r:id="rId1"/>
            </p:custDataLst>
          </p:nvPr>
        </p:nvGrpSpPr>
        <p:grpSpPr>
          <a:xfrm>
            <a:off x="684115" y="2123554"/>
            <a:ext cx="10844051" cy="3320437"/>
            <a:chOff x="669925" y="2123554"/>
            <a:chExt cx="10844051" cy="3320437"/>
          </a:xfrm>
        </p:grpSpPr>
        <p:grpSp>
          <p:nvGrpSpPr>
            <p:cNvPr id="6" name="ïšlïḋe">
              <a:extLst>
                <a:ext uri="{FF2B5EF4-FFF2-40B4-BE49-F238E27FC236}">
                  <a16:creationId xmlns:a16="http://schemas.microsoft.com/office/drawing/2014/main" id="{AFB7C7AC-4740-4A97-8114-6CF8F29F2867}"/>
                </a:ext>
              </a:extLst>
            </p:cNvPr>
            <p:cNvGrpSpPr/>
            <p:nvPr/>
          </p:nvGrpSpPr>
          <p:grpSpPr>
            <a:xfrm>
              <a:off x="669925" y="2123554"/>
              <a:ext cx="2352467" cy="3320437"/>
              <a:chOff x="1429055" y="2389675"/>
              <a:chExt cx="2163925" cy="3054316"/>
            </a:xfrm>
          </p:grpSpPr>
          <p:sp>
            <p:nvSpPr>
              <p:cNvPr id="25" name="îṣḷíḓé">
                <a:extLst>
                  <a:ext uri="{FF2B5EF4-FFF2-40B4-BE49-F238E27FC236}">
                    <a16:creationId xmlns:a16="http://schemas.microsoft.com/office/drawing/2014/main" id="{756355DB-AFBA-4815-AA00-0165A70D347C}"/>
                  </a:ext>
                </a:extLst>
              </p:cNvPr>
              <p:cNvSpPr/>
              <p:nvPr/>
            </p:nvSpPr>
            <p:spPr>
              <a:xfrm rot="16200000">
                <a:off x="1274922" y="3125933"/>
                <a:ext cx="2472192" cy="2163924"/>
              </a:xfrm>
              <a:custGeom>
                <a:avLst/>
                <a:gdLst>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6753 w 8033654"/>
                  <a:gd name="connsiteY5" fmla="*/ 467828 h 7031915"/>
                  <a:gd name="connsiteX6" fmla="*/ 6540064 w 8033654"/>
                  <a:gd name="connsiteY6" fmla="*/ 434562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363588 w 8033654"/>
                  <a:gd name="connsiteY37" fmla="*/ 6946684 h 7031915"/>
                  <a:gd name="connsiteX38" fmla="*/ 2418335 w 8033654"/>
                  <a:gd name="connsiteY38" fmla="*/ 6906767 h 7031915"/>
                  <a:gd name="connsiteX39" fmla="*/ 2418334 w 8033654"/>
                  <a:gd name="connsiteY39" fmla="*/ 6906767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418334 w 8033654"/>
                  <a:gd name="connsiteY42" fmla="*/ 6906767 h 7031915"/>
                  <a:gd name="connsiteX43" fmla="*/ 2176957 w 8033654"/>
                  <a:gd name="connsiteY43" fmla="*/ 7019956 h 7031915"/>
                  <a:gd name="connsiteX44" fmla="*/ 2058326 w 8033654"/>
                  <a:gd name="connsiteY44" fmla="*/ 7031915 h 7031915"/>
                  <a:gd name="connsiteX45" fmla="*/ 2058286 w 8033654"/>
                  <a:gd name="connsiteY45" fmla="*/ 7031915 h 7031915"/>
                  <a:gd name="connsiteX46" fmla="*/ 1939655 w 8033654"/>
                  <a:gd name="connsiteY46" fmla="*/ 7019956 h 7031915"/>
                  <a:gd name="connsiteX47" fmla="*/ 1642007 w 8033654"/>
                  <a:gd name="connsiteY47" fmla="*/ 6859480 h 7031915"/>
                  <a:gd name="connsiteX48" fmla="*/ 1570173 w 8033654"/>
                  <a:gd name="connsiteY48" fmla="*/ 6772417 h 7031915"/>
                  <a:gd name="connsiteX49" fmla="*/ 1508795 w 8033654"/>
                  <a:gd name="connsiteY49" fmla="*/ 6649661 h 7031915"/>
                  <a:gd name="connsiteX50" fmla="*/ 1508794 w 8033654"/>
                  <a:gd name="connsiteY50" fmla="*/ 6649657 h 7031915"/>
                  <a:gd name="connsiteX51" fmla="*/ 115723 w 8033654"/>
                  <a:gd name="connsiteY51" fmla="*/ 3863519 h 7031915"/>
                  <a:gd name="connsiteX52" fmla="*/ 115722 w 8033654"/>
                  <a:gd name="connsiteY52" fmla="*/ 3863518 h 7031915"/>
                  <a:gd name="connsiteX53" fmla="*/ 29470 w 8033654"/>
                  <a:gd name="connsiteY53" fmla="*/ 3691014 h 7031915"/>
                  <a:gd name="connsiteX54" fmla="*/ 11962 w 8033654"/>
                  <a:gd name="connsiteY54" fmla="*/ 3634608 h 7031915"/>
                  <a:gd name="connsiteX55" fmla="*/ 0 w 8033654"/>
                  <a:gd name="connsiteY55" fmla="*/ 3515957 h 7031915"/>
                  <a:gd name="connsiteX56" fmla="*/ 11962 w 8033654"/>
                  <a:gd name="connsiteY56" fmla="*/ 3397306 h 7031915"/>
                  <a:gd name="connsiteX57" fmla="*/ 29470 w 8033654"/>
                  <a:gd name="connsiteY57" fmla="*/ 3340901 h 7031915"/>
                  <a:gd name="connsiteX58" fmla="*/ 115722 w 8033654"/>
                  <a:gd name="connsiteY58" fmla="*/ 3168396 h 7031915"/>
                  <a:gd name="connsiteX59" fmla="*/ 115723 w 8033654"/>
                  <a:gd name="connsiteY59" fmla="*/ 3168396 h 7031915"/>
                  <a:gd name="connsiteX60" fmla="*/ 1508796 w 8033654"/>
                  <a:gd name="connsiteY60" fmla="*/ 382255 h 7031915"/>
                  <a:gd name="connsiteX61" fmla="*/ 1570174 w 8033654"/>
                  <a:gd name="connsiteY61" fmla="*/ 259499 h 7031915"/>
                  <a:gd name="connsiteX62" fmla="*/ 1642008 w 8033654"/>
                  <a:gd name="connsiteY62" fmla="*/ 172435 h 7031915"/>
                  <a:gd name="connsiteX63" fmla="*/ 1939656 w 8033654"/>
                  <a:gd name="connsiteY63" fmla="*/ 11959 h 7031915"/>
                  <a:gd name="connsiteX64" fmla="*/ 2058287 w 8033654"/>
                  <a:gd name="connsiteY64"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176957 w 8033654"/>
                  <a:gd name="connsiteY42" fmla="*/ 7019956 h 7031915"/>
                  <a:gd name="connsiteX43" fmla="*/ 2058326 w 8033654"/>
                  <a:gd name="connsiteY43" fmla="*/ 7031915 h 7031915"/>
                  <a:gd name="connsiteX44" fmla="*/ 2058286 w 8033654"/>
                  <a:gd name="connsiteY44" fmla="*/ 7031915 h 7031915"/>
                  <a:gd name="connsiteX45" fmla="*/ 1939655 w 8033654"/>
                  <a:gd name="connsiteY45" fmla="*/ 7019956 h 7031915"/>
                  <a:gd name="connsiteX46" fmla="*/ 1642007 w 8033654"/>
                  <a:gd name="connsiteY46" fmla="*/ 6859480 h 7031915"/>
                  <a:gd name="connsiteX47" fmla="*/ 1570173 w 8033654"/>
                  <a:gd name="connsiteY47" fmla="*/ 6772417 h 7031915"/>
                  <a:gd name="connsiteX48" fmla="*/ 1508795 w 8033654"/>
                  <a:gd name="connsiteY48" fmla="*/ 6649661 h 7031915"/>
                  <a:gd name="connsiteX49" fmla="*/ 1508794 w 8033654"/>
                  <a:gd name="connsiteY49" fmla="*/ 6649657 h 7031915"/>
                  <a:gd name="connsiteX50" fmla="*/ 115723 w 8033654"/>
                  <a:gd name="connsiteY50" fmla="*/ 3863519 h 7031915"/>
                  <a:gd name="connsiteX51" fmla="*/ 115722 w 8033654"/>
                  <a:gd name="connsiteY51" fmla="*/ 3863518 h 7031915"/>
                  <a:gd name="connsiteX52" fmla="*/ 29470 w 8033654"/>
                  <a:gd name="connsiteY52" fmla="*/ 3691014 h 7031915"/>
                  <a:gd name="connsiteX53" fmla="*/ 11962 w 8033654"/>
                  <a:gd name="connsiteY53" fmla="*/ 3634608 h 7031915"/>
                  <a:gd name="connsiteX54" fmla="*/ 0 w 8033654"/>
                  <a:gd name="connsiteY54" fmla="*/ 3515957 h 7031915"/>
                  <a:gd name="connsiteX55" fmla="*/ 11962 w 8033654"/>
                  <a:gd name="connsiteY55" fmla="*/ 3397306 h 7031915"/>
                  <a:gd name="connsiteX56" fmla="*/ 29470 w 8033654"/>
                  <a:gd name="connsiteY56" fmla="*/ 3340901 h 7031915"/>
                  <a:gd name="connsiteX57" fmla="*/ 115722 w 8033654"/>
                  <a:gd name="connsiteY57" fmla="*/ 3168396 h 7031915"/>
                  <a:gd name="connsiteX58" fmla="*/ 115723 w 8033654"/>
                  <a:gd name="connsiteY58" fmla="*/ 3168396 h 7031915"/>
                  <a:gd name="connsiteX59" fmla="*/ 1508796 w 8033654"/>
                  <a:gd name="connsiteY59" fmla="*/ 382255 h 7031915"/>
                  <a:gd name="connsiteX60" fmla="*/ 1570174 w 8033654"/>
                  <a:gd name="connsiteY60" fmla="*/ 259499 h 7031915"/>
                  <a:gd name="connsiteX61" fmla="*/ 1642008 w 8033654"/>
                  <a:gd name="connsiteY61" fmla="*/ 172435 h 7031915"/>
                  <a:gd name="connsiteX62" fmla="*/ 1939656 w 8033654"/>
                  <a:gd name="connsiteY62" fmla="*/ 11959 h 7031915"/>
                  <a:gd name="connsiteX63" fmla="*/ 2058287 w 8033654"/>
                  <a:gd name="connsiteY63"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62" fmla="*/ 2058287 w 8033654"/>
                  <a:gd name="connsiteY62"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176957 w 8033654"/>
                  <a:gd name="connsiteY40" fmla="*/ 7019956 h 7031915"/>
                  <a:gd name="connsiteX41" fmla="*/ 2058326 w 8033654"/>
                  <a:gd name="connsiteY41" fmla="*/ 7031915 h 7031915"/>
                  <a:gd name="connsiteX42" fmla="*/ 2058286 w 8033654"/>
                  <a:gd name="connsiteY42" fmla="*/ 7031915 h 7031915"/>
                  <a:gd name="connsiteX43" fmla="*/ 1939655 w 8033654"/>
                  <a:gd name="connsiteY43" fmla="*/ 7019956 h 7031915"/>
                  <a:gd name="connsiteX44" fmla="*/ 1642007 w 8033654"/>
                  <a:gd name="connsiteY44" fmla="*/ 6859480 h 7031915"/>
                  <a:gd name="connsiteX45" fmla="*/ 1570173 w 8033654"/>
                  <a:gd name="connsiteY45" fmla="*/ 6772417 h 7031915"/>
                  <a:gd name="connsiteX46" fmla="*/ 1508795 w 8033654"/>
                  <a:gd name="connsiteY46" fmla="*/ 6649661 h 7031915"/>
                  <a:gd name="connsiteX47" fmla="*/ 1508794 w 8033654"/>
                  <a:gd name="connsiteY47" fmla="*/ 6649657 h 7031915"/>
                  <a:gd name="connsiteX48" fmla="*/ 115723 w 8033654"/>
                  <a:gd name="connsiteY48" fmla="*/ 3863519 h 7031915"/>
                  <a:gd name="connsiteX49" fmla="*/ 115722 w 8033654"/>
                  <a:gd name="connsiteY49" fmla="*/ 3863518 h 7031915"/>
                  <a:gd name="connsiteX50" fmla="*/ 29470 w 8033654"/>
                  <a:gd name="connsiteY50" fmla="*/ 3691014 h 7031915"/>
                  <a:gd name="connsiteX51" fmla="*/ 11962 w 8033654"/>
                  <a:gd name="connsiteY51" fmla="*/ 3634608 h 7031915"/>
                  <a:gd name="connsiteX52" fmla="*/ 0 w 8033654"/>
                  <a:gd name="connsiteY52" fmla="*/ 3515957 h 7031915"/>
                  <a:gd name="connsiteX53" fmla="*/ 11962 w 8033654"/>
                  <a:gd name="connsiteY53" fmla="*/ 3397306 h 7031915"/>
                  <a:gd name="connsiteX54" fmla="*/ 29470 w 8033654"/>
                  <a:gd name="connsiteY54" fmla="*/ 3340901 h 7031915"/>
                  <a:gd name="connsiteX55" fmla="*/ 115722 w 8033654"/>
                  <a:gd name="connsiteY55" fmla="*/ 3168396 h 7031915"/>
                  <a:gd name="connsiteX56" fmla="*/ 115723 w 8033654"/>
                  <a:gd name="connsiteY56" fmla="*/ 3168396 h 7031915"/>
                  <a:gd name="connsiteX57" fmla="*/ 1508796 w 8033654"/>
                  <a:gd name="connsiteY57" fmla="*/ 382255 h 7031915"/>
                  <a:gd name="connsiteX58" fmla="*/ 1570174 w 8033654"/>
                  <a:gd name="connsiteY58" fmla="*/ 259499 h 7031915"/>
                  <a:gd name="connsiteX59" fmla="*/ 1642008 w 8033654"/>
                  <a:gd name="connsiteY59" fmla="*/ 172435 h 7031915"/>
                  <a:gd name="connsiteX60" fmla="*/ 1939656 w 8033654"/>
                  <a:gd name="connsiteY60" fmla="*/ 11959 h 7031915"/>
                  <a:gd name="connsiteX61" fmla="*/ 2058287 w 8033654"/>
                  <a:gd name="connsiteY61"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0064 w 8033654"/>
                  <a:gd name="connsiteY6" fmla="*/ 434562 h 7031915"/>
                  <a:gd name="connsiteX7" fmla="*/ 6529086 w 8033654"/>
                  <a:gd name="connsiteY7" fmla="*/ 402424 h 7031915"/>
                  <a:gd name="connsiteX8" fmla="*/ 6482461 w 8033654"/>
                  <a:gd name="connsiteY8" fmla="*/ 295697 h 7031915"/>
                  <a:gd name="connsiteX9" fmla="*/ 6520430 w 8033654"/>
                  <a:gd name="connsiteY9" fmla="*/ 377086 h 7031915"/>
                  <a:gd name="connsiteX10" fmla="*/ 6515577 w 8033654"/>
                  <a:gd name="connsiteY10" fmla="*/ 362878 h 7031915"/>
                  <a:gd name="connsiteX11" fmla="*/ 6482461 w 8033654"/>
                  <a:gd name="connsiteY11" fmla="*/ 295697 h 7031915"/>
                  <a:gd name="connsiteX12" fmla="*/ 2058287 w 8033654"/>
                  <a:gd name="connsiteY12" fmla="*/ 0 h 7031915"/>
                  <a:gd name="connsiteX13" fmla="*/ 2058326 w 8033654"/>
                  <a:gd name="connsiteY13" fmla="*/ 0 h 7031915"/>
                  <a:gd name="connsiteX14" fmla="*/ 5971699 w 8033654"/>
                  <a:gd name="connsiteY14" fmla="*/ 0 h 7031915"/>
                  <a:gd name="connsiteX15" fmla="*/ 5971700 w 8033654"/>
                  <a:gd name="connsiteY15" fmla="*/ 0 h 7031915"/>
                  <a:gd name="connsiteX16" fmla="*/ 5971740 w 8033654"/>
                  <a:gd name="connsiteY16" fmla="*/ 0 h 7031915"/>
                  <a:gd name="connsiteX17" fmla="*/ 6090371 w 8033654"/>
                  <a:gd name="connsiteY17" fmla="*/ 11959 h 7031915"/>
                  <a:gd name="connsiteX18" fmla="*/ 6357004 w 8033654"/>
                  <a:gd name="connsiteY18" fmla="*/ 143562 h 7031915"/>
                  <a:gd name="connsiteX19" fmla="*/ 6421756 w 8033654"/>
                  <a:gd name="connsiteY19" fmla="*/ 209878 h 7031915"/>
                  <a:gd name="connsiteX20" fmla="*/ 6426018 w 8033654"/>
                  <a:gd name="connsiteY20" fmla="*/ 214243 h 7031915"/>
                  <a:gd name="connsiteX21" fmla="*/ 6463356 w 8033654"/>
                  <a:gd name="connsiteY21" fmla="*/ 268125 h 7031915"/>
                  <a:gd name="connsiteX22" fmla="*/ 6480094 w 8033654"/>
                  <a:gd name="connsiteY22" fmla="*/ 292278 h 7031915"/>
                  <a:gd name="connsiteX23" fmla="*/ 6490605 w 8033654"/>
                  <a:gd name="connsiteY23" fmla="*/ 298322 h 7031915"/>
                  <a:gd name="connsiteX24" fmla="*/ 7949332 w 8033654"/>
                  <a:gd name="connsiteY24" fmla="*/ 3216682 h 7031915"/>
                  <a:gd name="connsiteX25" fmla="*/ 7992299 w 8033654"/>
                  <a:gd name="connsiteY25" fmla="*/ 3302616 h 7031915"/>
                  <a:gd name="connsiteX26" fmla="*/ 8021693 w 8033654"/>
                  <a:gd name="connsiteY26" fmla="*/ 3397306 h 7031915"/>
                  <a:gd name="connsiteX27" fmla="*/ 8033654 w 8033654"/>
                  <a:gd name="connsiteY27" fmla="*/ 3515957 h 7031915"/>
                  <a:gd name="connsiteX28" fmla="*/ 8021693 w 8033654"/>
                  <a:gd name="connsiteY28" fmla="*/ 3634608 h 7031915"/>
                  <a:gd name="connsiteX29" fmla="*/ 7992299 w 8033654"/>
                  <a:gd name="connsiteY29" fmla="*/ 3729298 h 7031915"/>
                  <a:gd name="connsiteX30" fmla="*/ 7949332 w 8033654"/>
                  <a:gd name="connsiteY30" fmla="*/ 3815232 h 7031915"/>
                  <a:gd name="connsiteX31" fmla="*/ 6535055 w 8033654"/>
                  <a:gd name="connsiteY31" fmla="*/ 6638796 h 7031915"/>
                  <a:gd name="connsiteX32" fmla="*/ 6524461 w 8033654"/>
                  <a:gd name="connsiteY32" fmla="*/ 6646190 h 7031915"/>
                  <a:gd name="connsiteX33" fmla="*/ 6482456 w 8033654"/>
                  <a:gd name="connsiteY33" fmla="*/ 6736229 h 7031915"/>
                  <a:gd name="connsiteX34" fmla="*/ 6090371 w 8033654"/>
                  <a:gd name="connsiteY34" fmla="*/ 7019956 h 7031915"/>
                  <a:gd name="connsiteX35" fmla="*/ 5971740 w 8033654"/>
                  <a:gd name="connsiteY35" fmla="*/ 7031915 h 7031915"/>
                  <a:gd name="connsiteX36" fmla="*/ 5971700 w 8033654"/>
                  <a:gd name="connsiteY36" fmla="*/ 7031915 h 7031915"/>
                  <a:gd name="connsiteX37" fmla="*/ 2058326 w 8033654"/>
                  <a:gd name="connsiteY37" fmla="*/ 7031915 h 7031915"/>
                  <a:gd name="connsiteX38" fmla="*/ 2176958 w 8033654"/>
                  <a:gd name="connsiteY38" fmla="*/ 7019956 h 7031915"/>
                  <a:gd name="connsiteX39" fmla="*/ 2176957 w 8033654"/>
                  <a:gd name="connsiteY39" fmla="*/ 7019956 h 7031915"/>
                  <a:gd name="connsiteX40" fmla="*/ 2058326 w 8033654"/>
                  <a:gd name="connsiteY40" fmla="*/ 7031915 h 7031915"/>
                  <a:gd name="connsiteX41" fmla="*/ 2058286 w 8033654"/>
                  <a:gd name="connsiteY41" fmla="*/ 7031915 h 7031915"/>
                  <a:gd name="connsiteX42" fmla="*/ 1939655 w 8033654"/>
                  <a:gd name="connsiteY42" fmla="*/ 7019956 h 7031915"/>
                  <a:gd name="connsiteX43" fmla="*/ 1642007 w 8033654"/>
                  <a:gd name="connsiteY43" fmla="*/ 6859480 h 7031915"/>
                  <a:gd name="connsiteX44" fmla="*/ 1570173 w 8033654"/>
                  <a:gd name="connsiteY44" fmla="*/ 6772417 h 7031915"/>
                  <a:gd name="connsiteX45" fmla="*/ 1508795 w 8033654"/>
                  <a:gd name="connsiteY45" fmla="*/ 6649661 h 7031915"/>
                  <a:gd name="connsiteX46" fmla="*/ 1508794 w 8033654"/>
                  <a:gd name="connsiteY46" fmla="*/ 6649657 h 7031915"/>
                  <a:gd name="connsiteX47" fmla="*/ 115723 w 8033654"/>
                  <a:gd name="connsiteY47" fmla="*/ 3863519 h 7031915"/>
                  <a:gd name="connsiteX48" fmla="*/ 115722 w 8033654"/>
                  <a:gd name="connsiteY48" fmla="*/ 3863518 h 7031915"/>
                  <a:gd name="connsiteX49" fmla="*/ 29470 w 8033654"/>
                  <a:gd name="connsiteY49" fmla="*/ 3691014 h 7031915"/>
                  <a:gd name="connsiteX50" fmla="*/ 11962 w 8033654"/>
                  <a:gd name="connsiteY50" fmla="*/ 3634608 h 7031915"/>
                  <a:gd name="connsiteX51" fmla="*/ 0 w 8033654"/>
                  <a:gd name="connsiteY51" fmla="*/ 3515957 h 7031915"/>
                  <a:gd name="connsiteX52" fmla="*/ 11962 w 8033654"/>
                  <a:gd name="connsiteY52" fmla="*/ 3397306 h 7031915"/>
                  <a:gd name="connsiteX53" fmla="*/ 29470 w 8033654"/>
                  <a:gd name="connsiteY53" fmla="*/ 3340901 h 7031915"/>
                  <a:gd name="connsiteX54" fmla="*/ 115722 w 8033654"/>
                  <a:gd name="connsiteY54" fmla="*/ 3168396 h 7031915"/>
                  <a:gd name="connsiteX55" fmla="*/ 115723 w 8033654"/>
                  <a:gd name="connsiteY55" fmla="*/ 3168396 h 7031915"/>
                  <a:gd name="connsiteX56" fmla="*/ 1508796 w 8033654"/>
                  <a:gd name="connsiteY56" fmla="*/ 382255 h 7031915"/>
                  <a:gd name="connsiteX57" fmla="*/ 1570174 w 8033654"/>
                  <a:gd name="connsiteY57" fmla="*/ 259499 h 7031915"/>
                  <a:gd name="connsiteX58" fmla="*/ 1642008 w 8033654"/>
                  <a:gd name="connsiteY58" fmla="*/ 172435 h 7031915"/>
                  <a:gd name="connsiteX59" fmla="*/ 1939656 w 8033654"/>
                  <a:gd name="connsiteY59" fmla="*/ 11959 h 7031915"/>
                  <a:gd name="connsiteX60" fmla="*/ 2058287 w 8033654"/>
                  <a:gd name="connsiteY60" fmla="*/ 0 h 7031915"/>
                  <a:gd name="connsiteX0" fmla="*/ 6555247 w 8033654"/>
                  <a:gd name="connsiteY0" fmla="*/ 510071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0064 w 8033654"/>
                  <a:gd name="connsiteY5" fmla="*/ 434562 h 7031915"/>
                  <a:gd name="connsiteX6" fmla="*/ 6529086 w 8033654"/>
                  <a:gd name="connsiteY6" fmla="*/ 402424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6482461 w 8033654"/>
                  <a:gd name="connsiteY10" fmla="*/ 295697 h 7031915"/>
                  <a:gd name="connsiteX11" fmla="*/ 2058287 w 8033654"/>
                  <a:gd name="connsiteY11" fmla="*/ 0 h 7031915"/>
                  <a:gd name="connsiteX12" fmla="*/ 2058326 w 8033654"/>
                  <a:gd name="connsiteY12" fmla="*/ 0 h 7031915"/>
                  <a:gd name="connsiteX13" fmla="*/ 5971699 w 8033654"/>
                  <a:gd name="connsiteY13" fmla="*/ 0 h 7031915"/>
                  <a:gd name="connsiteX14" fmla="*/ 5971700 w 8033654"/>
                  <a:gd name="connsiteY14" fmla="*/ 0 h 7031915"/>
                  <a:gd name="connsiteX15" fmla="*/ 5971740 w 8033654"/>
                  <a:gd name="connsiteY15" fmla="*/ 0 h 7031915"/>
                  <a:gd name="connsiteX16" fmla="*/ 6090371 w 8033654"/>
                  <a:gd name="connsiteY16" fmla="*/ 11959 h 7031915"/>
                  <a:gd name="connsiteX17" fmla="*/ 6357004 w 8033654"/>
                  <a:gd name="connsiteY17" fmla="*/ 143562 h 7031915"/>
                  <a:gd name="connsiteX18" fmla="*/ 6421756 w 8033654"/>
                  <a:gd name="connsiteY18" fmla="*/ 209878 h 7031915"/>
                  <a:gd name="connsiteX19" fmla="*/ 6426018 w 8033654"/>
                  <a:gd name="connsiteY19" fmla="*/ 214243 h 7031915"/>
                  <a:gd name="connsiteX20" fmla="*/ 6463356 w 8033654"/>
                  <a:gd name="connsiteY20" fmla="*/ 268125 h 7031915"/>
                  <a:gd name="connsiteX21" fmla="*/ 6480094 w 8033654"/>
                  <a:gd name="connsiteY21" fmla="*/ 292278 h 7031915"/>
                  <a:gd name="connsiteX22" fmla="*/ 6490605 w 8033654"/>
                  <a:gd name="connsiteY22" fmla="*/ 298322 h 7031915"/>
                  <a:gd name="connsiteX23" fmla="*/ 7949332 w 8033654"/>
                  <a:gd name="connsiteY23" fmla="*/ 3216682 h 7031915"/>
                  <a:gd name="connsiteX24" fmla="*/ 7992299 w 8033654"/>
                  <a:gd name="connsiteY24" fmla="*/ 3302616 h 7031915"/>
                  <a:gd name="connsiteX25" fmla="*/ 8021693 w 8033654"/>
                  <a:gd name="connsiteY25" fmla="*/ 3397306 h 7031915"/>
                  <a:gd name="connsiteX26" fmla="*/ 8033654 w 8033654"/>
                  <a:gd name="connsiteY26" fmla="*/ 3515957 h 7031915"/>
                  <a:gd name="connsiteX27" fmla="*/ 8021693 w 8033654"/>
                  <a:gd name="connsiteY27" fmla="*/ 3634608 h 7031915"/>
                  <a:gd name="connsiteX28" fmla="*/ 7992299 w 8033654"/>
                  <a:gd name="connsiteY28" fmla="*/ 3729298 h 7031915"/>
                  <a:gd name="connsiteX29" fmla="*/ 7949332 w 8033654"/>
                  <a:gd name="connsiteY29" fmla="*/ 3815232 h 7031915"/>
                  <a:gd name="connsiteX30" fmla="*/ 6535055 w 8033654"/>
                  <a:gd name="connsiteY30" fmla="*/ 6638796 h 7031915"/>
                  <a:gd name="connsiteX31" fmla="*/ 6524461 w 8033654"/>
                  <a:gd name="connsiteY31" fmla="*/ 6646190 h 7031915"/>
                  <a:gd name="connsiteX32" fmla="*/ 6482456 w 8033654"/>
                  <a:gd name="connsiteY32" fmla="*/ 6736229 h 7031915"/>
                  <a:gd name="connsiteX33" fmla="*/ 6090371 w 8033654"/>
                  <a:gd name="connsiteY33" fmla="*/ 7019956 h 7031915"/>
                  <a:gd name="connsiteX34" fmla="*/ 5971740 w 8033654"/>
                  <a:gd name="connsiteY34" fmla="*/ 7031915 h 7031915"/>
                  <a:gd name="connsiteX35" fmla="*/ 5971700 w 8033654"/>
                  <a:gd name="connsiteY35" fmla="*/ 7031915 h 7031915"/>
                  <a:gd name="connsiteX36" fmla="*/ 2058326 w 8033654"/>
                  <a:gd name="connsiteY36" fmla="*/ 7031915 h 7031915"/>
                  <a:gd name="connsiteX37" fmla="*/ 2176958 w 8033654"/>
                  <a:gd name="connsiteY37" fmla="*/ 7019956 h 7031915"/>
                  <a:gd name="connsiteX38" fmla="*/ 2176957 w 8033654"/>
                  <a:gd name="connsiteY38" fmla="*/ 7019956 h 7031915"/>
                  <a:gd name="connsiteX39" fmla="*/ 2058326 w 8033654"/>
                  <a:gd name="connsiteY39" fmla="*/ 7031915 h 7031915"/>
                  <a:gd name="connsiteX40" fmla="*/ 2058286 w 8033654"/>
                  <a:gd name="connsiteY40" fmla="*/ 7031915 h 7031915"/>
                  <a:gd name="connsiteX41" fmla="*/ 1939655 w 8033654"/>
                  <a:gd name="connsiteY41" fmla="*/ 7019956 h 7031915"/>
                  <a:gd name="connsiteX42" fmla="*/ 1642007 w 8033654"/>
                  <a:gd name="connsiteY42" fmla="*/ 6859480 h 7031915"/>
                  <a:gd name="connsiteX43" fmla="*/ 1570173 w 8033654"/>
                  <a:gd name="connsiteY43" fmla="*/ 6772417 h 7031915"/>
                  <a:gd name="connsiteX44" fmla="*/ 1508795 w 8033654"/>
                  <a:gd name="connsiteY44" fmla="*/ 6649661 h 7031915"/>
                  <a:gd name="connsiteX45" fmla="*/ 1508794 w 8033654"/>
                  <a:gd name="connsiteY45" fmla="*/ 6649657 h 7031915"/>
                  <a:gd name="connsiteX46" fmla="*/ 115723 w 8033654"/>
                  <a:gd name="connsiteY46" fmla="*/ 3863519 h 7031915"/>
                  <a:gd name="connsiteX47" fmla="*/ 115722 w 8033654"/>
                  <a:gd name="connsiteY47" fmla="*/ 3863518 h 7031915"/>
                  <a:gd name="connsiteX48" fmla="*/ 29470 w 8033654"/>
                  <a:gd name="connsiteY48" fmla="*/ 3691014 h 7031915"/>
                  <a:gd name="connsiteX49" fmla="*/ 11962 w 8033654"/>
                  <a:gd name="connsiteY49" fmla="*/ 3634608 h 7031915"/>
                  <a:gd name="connsiteX50" fmla="*/ 0 w 8033654"/>
                  <a:gd name="connsiteY50" fmla="*/ 3515957 h 7031915"/>
                  <a:gd name="connsiteX51" fmla="*/ 11962 w 8033654"/>
                  <a:gd name="connsiteY51" fmla="*/ 3397306 h 7031915"/>
                  <a:gd name="connsiteX52" fmla="*/ 29470 w 8033654"/>
                  <a:gd name="connsiteY52" fmla="*/ 3340901 h 7031915"/>
                  <a:gd name="connsiteX53" fmla="*/ 115722 w 8033654"/>
                  <a:gd name="connsiteY53" fmla="*/ 3168396 h 7031915"/>
                  <a:gd name="connsiteX54" fmla="*/ 115723 w 8033654"/>
                  <a:gd name="connsiteY54" fmla="*/ 3168396 h 7031915"/>
                  <a:gd name="connsiteX55" fmla="*/ 1508796 w 8033654"/>
                  <a:gd name="connsiteY55" fmla="*/ 382255 h 7031915"/>
                  <a:gd name="connsiteX56" fmla="*/ 1570174 w 8033654"/>
                  <a:gd name="connsiteY56" fmla="*/ 259499 h 7031915"/>
                  <a:gd name="connsiteX57" fmla="*/ 1642008 w 8033654"/>
                  <a:gd name="connsiteY57" fmla="*/ 172435 h 7031915"/>
                  <a:gd name="connsiteX58" fmla="*/ 1939656 w 8033654"/>
                  <a:gd name="connsiteY58" fmla="*/ 11959 h 7031915"/>
                  <a:gd name="connsiteX59" fmla="*/ 2058287 w 8033654"/>
                  <a:gd name="connsiteY59" fmla="*/ 0 h 7031915"/>
                  <a:gd name="connsiteX0" fmla="*/ 6556798 w 8033654"/>
                  <a:gd name="connsiteY0" fmla="*/ 533489 h 7031915"/>
                  <a:gd name="connsiteX1" fmla="*/ 6555365 w 8033654"/>
                  <a:gd name="connsiteY1" fmla="*/ 531027 h 7031915"/>
                  <a:gd name="connsiteX2" fmla="*/ 6556798 w 8033654"/>
                  <a:gd name="connsiteY2" fmla="*/ 533489 h 7031915"/>
                  <a:gd name="connsiteX3" fmla="*/ 6529086 w 8033654"/>
                  <a:gd name="connsiteY3" fmla="*/ 402424 h 7031915"/>
                  <a:gd name="connsiteX4" fmla="*/ 6540064 w 8033654"/>
                  <a:gd name="connsiteY4" fmla="*/ 434562 h 7031915"/>
                  <a:gd name="connsiteX5" fmla="*/ 6529086 w 8033654"/>
                  <a:gd name="connsiteY5" fmla="*/ 402424 h 7031915"/>
                  <a:gd name="connsiteX6" fmla="*/ 6482461 w 8033654"/>
                  <a:gd name="connsiteY6" fmla="*/ 295697 h 7031915"/>
                  <a:gd name="connsiteX7" fmla="*/ 6520430 w 8033654"/>
                  <a:gd name="connsiteY7" fmla="*/ 377086 h 7031915"/>
                  <a:gd name="connsiteX8" fmla="*/ 6515577 w 8033654"/>
                  <a:gd name="connsiteY8" fmla="*/ 362878 h 7031915"/>
                  <a:gd name="connsiteX9" fmla="*/ 6482461 w 8033654"/>
                  <a:gd name="connsiteY9" fmla="*/ 295697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176957 w 8033654"/>
                  <a:gd name="connsiteY37" fmla="*/ 7019956 h 7031915"/>
                  <a:gd name="connsiteX38" fmla="*/ 2058326 w 8033654"/>
                  <a:gd name="connsiteY38" fmla="*/ 7031915 h 7031915"/>
                  <a:gd name="connsiteX39" fmla="*/ 2058286 w 8033654"/>
                  <a:gd name="connsiteY39" fmla="*/ 7031915 h 7031915"/>
                  <a:gd name="connsiteX40" fmla="*/ 1939655 w 8033654"/>
                  <a:gd name="connsiteY40" fmla="*/ 7019956 h 7031915"/>
                  <a:gd name="connsiteX41" fmla="*/ 1642007 w 8033654"/>
                  <a:gd name="connsiteY41" fmla="*/ 6859480 h 7031915"/>
                  <a:gd name="connsiteX42" fmla="*/ 1570173 w 8033654"/>
                  <a:gd name="connsiteY42" fmla="*/ 6772417 h 7031915"/>
                  <a:gd name="connsiteX43" fmla="*/ 1508795 w 8033654"/>
                  <a:gd name="connsiteY43" fmla="*/ 6649661 h 7031915"/>
                  <a:gd name="connsiteX44" fmla="*/ 1508794 w 8033654"/>
                  <a:gd name="connsiteY44" fmla="*/ 6649657 h 7031915"/>
                  <a:gd name="connsiteX45" fmla="*/ 115723 w 8033654"/>
                  <a:gd name="connsiteY45" fmla="*/ 3863519 h 7031915"/>
                  <a:gd name="connsiteX46" fmla="*/ 115722 w 8033654"/>
                  <a:gd name="connsiteY46" fmla="*/ 3863518 h 7031915"/>
                  <a:gd name="connsiteX47" fmla="*/ 29470 w 8033654"/>
                  <a:gd name="connsiteY47" fmla="*/ 3691014 h 7031915"/>
                  <a:gd name="connsiteX48" fmla="*/ 11962 w 8033654"/>
                  <a:gd name="connsiteY48" fmla="*/ 3634608 h 7031915"/>
                  <a:gd name="connsiteX49" fmla="*/ 0 w 8033654"/>
                  <a:gd name="connsiteY49" fmla="*/ 3515957 h 7031915"/>
                  <a:gd name="connsiteX50" fmla="*/ 11962 w 8033654"/>
                  <a:gd name="connsiteY50" fmla="*/ 3397306 h 7031915"/>
                  <a:gd name="connsiteX51" fmla="*/ 29470 w 8033654"/>
                  <a:gd name="connsiteY51" fmla="*/ 3340901 h 7031915"/>
                  <a:gd name="connsiteX52" fmla="*/ 115722 w 8033654"/>
                  <a:gd name="connsiteY52" fmla="*/ 3168396 h 7031915"/>
                  <a:gd name="connsiteX53" fmla="*/ 115723 w 8033654"/>
                  <a:gd name="connsiteY53" fmla="*/ 3168396 h 7031915"/>
                  <a:gd name="connsiteX54" fmla="*/ 1508796 w 8033654"/>
                  <a:gd name="connsiteY54" fmla="*/ 382255 h 7031915"/>
                  <a:gd name="connsiteX55" fmla="*/ 1570174 w 8033654"/>
                  <a:gd name="connsiteY55" fmla="*/ 259499 h 7031915"/>
                  <a:gd name="connsiteX56" fmla="*/ 1642008 w 8033654"/>
                  <a:gd name="connsiteY56" fmla="*/ 172435 h 7031915"/>
                  <a:gd name="connsiteX57" fmla="*/ 1939656 w 8033654"/>
                  <a:gd name="connsiteY57" fmla="*/ 11959 h 7031915"/>
                  <a:gd name="connsiteX58" fmla="*/ 2058287 w 8033654"/>
                  <a:gd name="connsiteY58"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6490605 w 8033654"/>
                  <a:gd name="connsiteY18" fmla="*/ 298322 h 7031915"/>
                  <a:gd name="connsiteX19" fmla="*/ 7949332 w 8033654"/>
                  <a:gd name="connsiteY19" fmla="*/ 3216682 h 7031915"/>
                  <a:gd name="connsiteX20" fmla="*/ 7992299 w 8033654"/>
                  <a:gd name="connsiteY20" fmla="*/ 3302616 h 7031915"/>
                  <a:gd name="connsiteX21" fmla="*/ 8021693 w 8033654"/>
                  <a:gd name="connsiteY21" fmla="*/ 3397306 h 7031915"/>
                  <a:gd name="connsiteX22" fmla="*/ 8033654 w 8033654"/>
                  <a:gd name="connsiteY22" fmla="*/ 3515957 h 7031915"/>
                  <a:gd name="connsiteX23" fmla="*/ 8021693 w 8033654"/>
                  <a:gd name="connsiteY23" fmla="*/ 3634608 h 7031915"/>
                  <a:gd name="connsiteX24" fmla="*/ 7992299 w 8033654"/>
                  <a:gd name="connsiteY24" fmla="*/ 3729298 h 7031915"/>
                  <a:gd name="connsiteX25" fmla="*/ 7949332 w 8033654"/>
                  <a:gd name="connsiteY25" fmla="*/ 3815232 h 7031915"/>
                  <a:gd name="connsiteX26" fmla="*/ 6535055 w 8033654"/>
                  <a:gd name="connsiteY26" fmla="*/ 6638796 h 7031915"/>
                  <a:gd name="connsiteX27" fmla="*/ 6524461 w 8033654"/>
                  <a:gd name="connsiteY27" fmla="*/ 6646190 h 7031915"/>
                  <a:gd name="connsiteX28" fmla="*/ 6482456 w 8033654"/>
                  <a:gd name="connsiteY28" fmla="*/ 6736229 h 7031915"/>
                  <a:gd name="connsiteX29" fmla="*/ 6090371 w 8033654"/>
                  <a:gd name="connsiteY29" fmla="*/ 7019956 h 7031915"/>
                  <a:gd name="connsiteX30" fmla="*/ 5971740 w 8033654"/>
                  <a:gd name="connsiteY30" fmla="*/ 7031915 h 7031915"/>
                  <a:gd name="connsiteX31" fmla="*/ 5971700 w 8033654"/>
                  <a:gd name="connsiteY31" fmla="*/ 7031915 h 7031915"/>
                  <a:gd name="connsiteX32" fmla="*/ 2058326 w 8033654"/>
                  <a:gd name="connsiteY32" fmla="*/ 7031915 h 7031915"/>
                  <a:gd name="connsiteX33" fmla="*/ 2176958 w 8033654"/>
                  <a:gd name="connsiteY33" fmla="*/ 7019956 h 7031915"/>
                  <a:gd name="connsiteX34" fmla="*/ 2176957 w 8033654"/>
                  <a:gd name="connsiteY34" fmla="*/ 7019956 h 7031915"/>
                  <a:gd name="connsiteX35" fmla="*/ 2058326 w 8033654"/>
                  <a:gd name="connsiteY35" fmla="*/ 7031915 h 7031915"/>
                  <a:gd name="connsiteX36" fmla="*/ 2058286 w 8033654"/>
                  <a:gd name="connsiteY36" fmla="*/ 7031915 h 7031915"/>
                  <a:gd name="connsiteX37" fmla="*/ 1939655 w 8033654"/>
                  <a:gd name="connsiteY37" fmla="*/ 7019956 h 7031915"/>
                  <a:gd name="connsiteX38" fmla="*/ 1642007 w 8033654"/>
                  <a:gd name="connsiteY38" fmla="*/ 6859480 h 7031915"/>
                  <a:gd name="connsiteX39" fmla="*/ 1570173 w 8033654"/>
                  <a:gd name="connsiteY39" fmla="*/ 6772417 h 7031915"/>
                  <a:gd name="connsiteX40" fmla="*/ 1508795 w 8033654"/>
                  <a:gd name="connsiteY40" fmla="*/ 6649661 h 7031915"/>
                  <a:gd name="connsiteX41" fmla="*/ 1508794 w 8033654"/>
                  <a:gd name="connsiteY41" fmla="*/ 6649657 h 7031915"/>
                  <a:gd name="connsiteX42" fmla="*/ 115723 w 8033654"/>
                  <a:gd name="connsiteY42" fmla="*/ 3863519 h 7031915"/>
                  <a:gd name="connsiteX43" fmla="*/ 115722 w 8033654"/>
                  <a:gd name="connsiteY43" fmla="*/ 3863518 h 7031915"/>
                  <a:gd name="connsiteX44" fmla="*/ 29470 w 8033654"/>
                  <a:gd name="connsiteY44" fmla="*/ 3691014 h 7031915"/>
                  <a:gd name="connsiteX45" fmla="*/ 11962 w 8033654"/>
                  <a:gd name="connsiteY45" fmla="*/ 3634608 h 7031915"/>
                  <a:gd name="connsiteX46" fmla="*/ 0 w 8033654"/>
                  <a:gd name="connsiteY46" fmla="*/ 3515957 h 7031915"/>
                  <a:gd name="connsiteX47" fmla="*/ 11962 w 8033654"/>
                  <a:gd name="connsiteY47" fmla="*/ 3397306 h 7031915"/>
                  <a:gd name="connsiteX48" fmla="*/ 29470 w 8033654"/>
                  <a:gd name="connsiteY48" fmla="*/ 3340901 h 7031915"/>
                  <a:gd name="connsiteX49" fmla="*/ 115722 w 8033654"/>
                  <a:gd name="connsiteY49" fmla="*/ 3168396 h 7031915"/>
                  <a:gd name="connsiteX50" fmla="*/ 115723 w 8033654"/>
                  <a:gd name="connsiteY50" fmla="*/ 3168396 h 7031915"/>
                  <a:gd name="connsiteX51" fmla="*/ 1508796 w 8033654"/>
                  <a:gd name="connsiteY51" fmla="*/ 382255 h 7031915"/>
                  <a:gd name="connsiteX52" fmla="*/ 1570174 w 8033654"/>
                  <a:gd name="connsiteY52" fmla="*/ 259499 h 7031915"/>
                  <a:gd name="connsiteX53" fmla="*/ 1642008 w 8033654"/>
                  <a:gd name="connsiteY53" fmla="*/ 172435 h 7031915"/>
                  <a:gd name="connsiteX54" fmla="*/ 1939656 w 8033654"/>
                  <a:gd name="connsiteY54" fmla="*/ 11959 h 7031915"/>
                  <a:gd name="connsiteX55" fmla="*/ 2058287 w 8033654"/>
                  <a:gd name="connsiteY55"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7949332 w 8033654"/>
                  <a:gd name="connsiteY18" fmla="*/ 3216682 h 7031915"/>
                  <a:gd name="connsiteX19" fmla="*/ 7992299 w 8033654"/>
                  <a:gd name="connsiteY19" fmla="*/ 3302616 h 7031915"/>
                  <a:gd name="connsiteX20" fmla="*/ 8021693 w 8033654"/>
                  <a:gd name="connsiteY20" fmla="*/ 3397306 h 7031915"/>
                  <a:gd name="connsiteX21" fmla="*/ 8033654 w 8033654"/>
                  <a:gd name="connsiteY21" fmla="*/ 3515957 h 7031915"/>
                  <a:gd name="connsiteX22" fmla="*/ 8021693 w 8033654"/>
                  <a:gd name="connsiteY22" fmla="*/ 3634608 h 7031915"/>
                  <a:gd name="connsiteX23" fmla="*/ 7992299 w 8033654"/>
                  <a:gd name="connsiteY23" fmla="*/ 3729298 h 7031915"/>
                  <a:gd name="connsiteX24" fmla="*/ 7949332 w 8033654"/>
                  <a:gd name="connsiteY24" fmla="*/ 3815232 h 7031915"/>
                  <a:gd name="connsiteX25" fmla="*/ 6535055 w 8033654"/>
                  <a:gd name="connsiteY25" fmla="*/ 6638796 h 7031915"/>
                  <a:gd name="connsiteX26" fmla="*/ 6524461 w 8033654"/>
                  <a:gd name="connsiteY26" fmla="*/ 6646190 h 7031915"/>
                  <a:gd name="connsiteX27" fmla="*/ 6482456 w 8033654"/>
                  <a:gd name="connsiteY27" fmla="*/ 6736229 h 7031915"/>
                  <a:gd name="connsiteX28" fmla="*/ 6090371 w 8033654"/>
                  <a:gd name="connsiteY28" fmla="*/ 7019956 h 7031915"/>
                  <a:gd name="connsiteX29" fmla="*/ 5971740 w 8033654"/>
                  <a:gd name="connsiteY29" fmla="*/ 7031915 h 7031915"/>
                  <a:gd name="connsiteX30" fmla="*/ 5971700 w 8033654"/>
                  <a:gd name="connsiteY30" fmla="*/ 7031915 h 7031915"/>
                  <a:gd name="connsiteX31" fmla="*/ 2058326 w 8033654"/>
                  <a:gd name="connsiteY31" fmla="*/ 7031915 h 7031915"/>
                  <a:gd name="connsiteX32" fmla="*/ 2176958 w 8033654"/>
                  <a:gd name="connsiteY32" fmla="*/ 7019956 h 7031915"/>
                  <a:gd name="connsiteX33" fmla="*/ 2176957 w 8033654"/>
                  <a:gd name="connsiteY33" fmla="*/ 7019956 h 7031915"/>
                  <a:gd name="connsiteX34" fmla="*/ 2058326 w 8033654"/>
                  <a:gd name="connsiteY34" fmla="*/ 7031915 h 7031915"/>
                  <a:gd name="connsiteX35" fmla="*/ 2058286 w 8033654"/>
                  <a:gd name="connsiteY35" fmla="*/ 7031915 h 7031915"/>
                  <a:gd name="connsiteX36" fmla="*/ 1939655 w 8033654"/>
                  <a:gd name="connsiteY36" fmla="*/ 7019956 h 7031915"/>
                  <a:gd name="connsiteX37" fmla="*/ 1642007 w 8033654"/>
                  <a:gd name="connsiteY37" fmla="*/ 6859480 h 7031915"/>
                  <a:gd name="connsiteX38" fmla="*/ 1570173 w 8033654"/>
                  <a:gd name="connsiteY38" fmla="*/ 6772417 h 7031915"/>
                  <a:gd name="connsiteX39" fmla="*/ 1508795 w 8033654"/>
                  <a:gd name="connsiteY39" fmla="*/ 6649661 h 7031915"/>
                  <a:gd name="connsiteX40" fmla="*/ 1508794 w 8033654"/>
                  <a:gd name="connsiteY40" fmla="*/ 6649657 h 7031915"/>
                  <a:gd name="connsiteX41" fmla="*/ 115723 w 8033654"/>
                  <a:gd name="connsiteY41" fmla="*/ 3863519 h 7031915"/>
                  <a:gd name="connsiteX42" fmla="*/ 115722 w 8033654"/>
                  <a:gd name="connsiteY42" fmla="*/ 3863518 h 7031915"/>
                  <a:gd name="connsiteX43" fmla="*/ 29470 w 8033654"/>
                  <a:gd name="connsiteY43" fmla="*/ 3691014 h 7031915"/>
                  <a:gd name="connsiteX44" fmla="*/ 11962 w 8033654"/>
                  <a:gd name="connsiteY44" fmla="*/ 3634608 h 7031915"/>
                  <a:gd name="connsiteX45" fmla="*/ 0 w 8033654"/>
                  <a:gd name="connsiteY45" fmla="*/ 3515957 h 7031915"/>
                  <a:gd name="connsiteX46" fmla="*/ 11962 w 8033654"/>
                  <a:gd name="connsiteY46" fmla="*/ 3397306 h 7031915"/>
                  <a:gd name="connsiteX47" fmla="*/ 29470 w 8033654"/>
                  <a:gd name="connsiteY47" fmla="*/ 3340901 h 7031915"/>
                  <a:gd name="connsiteX48" fmla="*/ 115722 w 8033654"/>
                  <a:gd name="connsiteY48" fmla="*/ 3168396 h 7031915"/>
                  <a:gd name="connsiteX49" fmla="*/ 115723 w 8033654"/>
                  <a:gd name="connsiteY49" fmla="*/ 3168396 h 7031915"/>
                  <a:gd name="connsiteX50" fmla="*/ 1508796 w 8033654"/>
                  <a:gd name="connsiteY50" fmla="*/ 382255 h 7031915"/>
                  <a:gd name="connsiteX51" fmla="*/ 1570174 w 8033654"/>
                  <a:gd name="connsiteY51" fmla="*/ 259499 h 7031915"/>
                  <a:gd name="connsiteX52" fmla="*/ 1642008 w 8033654"/>
                  <a:gd name="connsiteY52" fmla="*/ 172435 h 7031915"/>
                  <a:gd name="connsiteX53" fmla="*/ 1939656 w 8033654"/>
                  <a:gd name="connsiteY53" fmla="*/ 11959 h 7031915"/>
                  <a:gd name="connsiteX54" fmla="*/ 2058287 w 8033654"/>
                  <a:gd name="connsiteY54"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482461 w 8033654"/>
                  <a:gd name="connsiteY5" fmla="*/ 295697 h 7031915"/>
                  <a:gd name="connsiteX6" fmla="*/ 2058287 w 8033654"/>
                  <a:gd name="connsiteY6" fmla="*/ 0 h 7031915"/>
                  <a:gd name="connsiteX7" fmla="*/ 2058326 w 8033654"/>
                  <a:gd name="connsiteY7" fmla="*/ 0 h 7031915"/>
                  <a:gd name="connsiteX8" fmla="*/ 5971699 w 8033654"/>
                  <a:gd name="connsiteY8" fmla="*/ 0 h 7031915"/>
                  <a:gd name="connsiteX9" fmla="*/ 5971700 w 8033654"/>
                  <a:gd name="connsiteY9" fmla="*/ 0 h 7031915"/>
                  <a:gd name="connsiteX10" fmla="*/ 5971740 w 8033654"/>
                  <a:gd name="connsiteY10" fmla="*/ 0 h 7031915"/>
                  <a:gd name="connsiteX11" fmla="*/ 6090371 w 8033654"/>
                  <a:gd name="connsiteY11" fmla="*/ 11959 h 7031915"/>
                  <a:gd name="connsiteX12" fmla="*/ 6357004 w 8033654"/>
                  <a:gd name="connsiteY12" fmla="*/ 143562 h 7031915"/>
                  <a:gd name="connsiteX13" fmla="*/ 6421756 w 8033654"/>
                  <a:gd name="connsiteY13" fmla="*/ 209878 h 7031915"/>
                  <a:gd name="connsiteX14" fmla="*/ 6426018 w 8033654"/>
                  <a:gd name="connsiteY14" fmla="*/ 214243 h 7031915"/>
                  <a:gd name="connsiteX15" fmla="*/ 6463356 w 8033654"/>
                  <a:gd name="connsiteY15" fmla="*/ 268125 h 7031915"/>
                  <a:gd name="connsiteX16" fmla="*/ 6480094 w 8033654"/>
                  <a:gd name="connsiteY16" fmla="*/ 292278 h 7031915"/>
                  <a:gd name="connsiteX17" fmla="*/ 7949332 w 8033654"/>
                  <a:gd name="connsiteY17" fmla="*/ 3216682 h 7031915"/>
                  <a:gd name="connsiteX18" fmla="*/ 7992299 w 8033654"/>
                  <a:gd name="connsiteY18" fmla="*/ 3302616 h 7031915"/>
                  <a:gd name="connsiteX19" fmla="*/ 8021693 w 8033654"/>
                  <a:gd name="connsiteY19" fmla="*/ 3397306 h 7031915"/>
                  <a:gd name="connsiteX20" fmla="*/ 8033654 w 8033654"/>
                  <a:gd name="connsiteY20" fmla="*/ 3515957 h 7031915"/>
                  <a:gd name="connsiteX21" fmla="*/ 8021693 w 8033654"/>
                  <a:gd name="connsiteY21" fmla="*/ 3634608 h 7031915"/>
                  <a:gd name="connsiteX22" fmla="*/ 7992299 w 8033654"/>
                  <a:gd name="connsiteY22" fmla="*/ 3729298 h 7031915"/>
                  <a:gd name="connsiteX23" fmla="*/ 7949332 w 8033654"/>
                  <a:gd name="connsiteY23" fmla="*/ 3815232 h 7031915"/>
                  <a:gd name="connsiteX24" fmla="*/ 6535055 w 8033654"/>
                  <a:gd name="connsiteY24" fmla="*/ 6638796 h 7031915"/>
                  <a:gd name="connsiteX25" fmla="*/ 6524461 w 8033654"/>
                  <a:gd name="connsiteY25" fmla="*/ 6646190 h 7031915"/>
                  <a:gd name="connsiteX26" fmla="*/ 6482456 w 8033654"/>
                  <a:gd name="connsiteY26" fmla="*/ 6736229 h 7031915"/>
                  <a:gd name="connsiteX27" fmla="*/ 6090371 w 8033654"/>
                  <a:gd name="connsiteY27" fmla="*/ 7019956 h 7031915"/>
                  <a:gd name="connsiteX28" fmla="*/ 5971740 w 8033654"/>
                  <a:gd name="connsiteY28" fmla="*/ 7031915 h 7031915"/>
                  <a:gd name="connsiteX29" fmla="*/ 5971700 w 8033654"/>
                  <a:gd name="connsiteY29" fmla="*/ 7031915 h 7031915"/>
                  <a:gd name="connsiteX30" fmla="*/ 2058326 w 8033654"/>
                  <a:gd name="connsiteY30" fmla="*/ 7031915 h 7031915"/>
                  <a:gd name="connsiteX31" fmla="*/ 2176958 w 8033654"/>
                  <a:gd name="connsiteY31" fmla="*/ 7019956 h 7031915"/>
                  <a:gd name="connsiteX32" fmla="*/ 2176957 w 8033654"/>
                  <a:gd name="connsiteY32" fmla="*/ 7019956 h 7031915"/>
                  <a:gd name="connsiteX33" fmla="*/ 2058326 w 8033654"/>
                  <a:gd name="connsiteY33" fmla="*/ 7031915 h 7031915"/>
                  <a:gd name="connsiteX34" fmla="*/ 2058286 w 8033654"/>
                  <a:gd name="connsiteY34" fmla="*/ 7031915 h 7031915"/>
                  <a:gd name="connsiteX35" fmla="*/ 1939655 w 8033654"/>
                  <a:gd name="connsiteY35" fmla="*/ 7019956 h 7031915"/>
                  <a:gd name="connsiteX36" fmla="*/ 1642007 w 8033654"/>
                  <a:gd name="connsiteY36" fmla="*/ 6859480 h 7031915"/>
                  <a:gd name="connsiteX37" fmla="*/ 1570173 w 8033654"/>
                  <a:gd name="connsiteY37" fmla="*/ 6772417 h 7031915"/>
                  <a:gd name="connsiteX38" fmla="*/ 1508795 w 8033654"/>
                  <a:gd name="connsiteY38" fmla="*/ 6649661 h 7031915"/>
                  <a:gd name="connsiteX39" fmla="*/ 1508794 w 8033654"/>
                  <a:gd name="connsiteY39" fmla="*/ 6649657 h 7031915"/>
                  <a:gd name="connsiteX40" fmla="*/ 115723 w 8033654"/>
                  <a:gd name="connsiteY40" fmla="*/ 3863519 h 7031915"/>
                  <a:gd name="connsiteX41" fmla="*/ 115722 w 8033654"/>
                  <a:gd name="connsiteY41" fmla="*/ 3863518 h 7031915"/>
                  <a:gd name="connsiteX42" fmla="*/ 29470 w 8033654"/>
                  <a:gd name="connsiteY42" fmla="*/ 3691014 h 7031915"/>
                  <a:gd name="connsiteX43" fmla="*/ 11962 w 8033654"/>
                  <a:gd name="connsiteY43" fmla="*/ 3634608 h 7031915"/>
                  <a:gd name="connsiteX44" fmla="*/ 0 w 8033654"/>
                  <a:gd name="connsiteY44" fmla="*/ 3515957 h 7031915"/>
                  <a:gd name="connsiteX45" fmla="*/ 11962 w 8033654"/>
                  <a:gd name="connsiteY45" fmla="*/ 3397306 h 7031915"/>
                  <a:gd name="connsiteX46" fmla="*/ 29470 w 8033654"/>
                  <a:gd name="connsiteY46" fmla="*/ 3340901 h 7031915"/>
                  <a:gd name="connsiteX47" fmla="*/ 115722 w 8033654"/>
                  <a:gd name="connsiteY47" fmla="*/ 3168396 h 7031915"/>
                  <a:gd name="connsiteX48" fmla="*/ 115723 w 8033654"/>
                  <a:gd name="connsiteY48" fmla="*/ 3168396 h 7031915"/>
                  <a:gd name="connsiteX49" fmla="*/ 1508796 w 8033654"/>
                  <a:gd name="connsiteY49" fmla="*/ 382255 h 7031915"/>
                  <a:gd name="connsiteX50" fmla="*/ 1570174 w 8033654"/>
                  <a:gd name="connsiteY50" fmla="*/ 259499 h 7031915"/>
                  <a:gd name="connsiteX51" fmla="*/ 1642008 w 8033654"/>
                  <a:gd name="connsiteY51" fmla="*/ 172435 h 7031915"/>
                  <a:gd name="connsiteX52" fmla="*/ 1939656 w 8033654"/>
                  <a:gd name="connsiteY52" fmla="*/ 11959 h 7031915"/>
                  <a:gd name="connsiteX53" fmla="*/ 2058287 w 8033654"/>
                  <a:gd name="connsiteY53"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2058287 w 8033654"/>
                  <a:gd name="connsiteY3" fmla="*/ 0 h 7031915"/>
                  <a:gd name="connsiteX4" fmla="*/ 2058326 w 8033654"/>
                  <a:gd name="connsiteY4" fmla="*/ 0 h 7031915"/>
                  <a:gd name="connsiteX5" fmla="*/ 5971699 w 8033654"/>
                  <a:gd name="connsiteY5" fmla="*/ 0 h 7031915"/>
                  <a:gd name="connsiteX6" fmla="*/ 5971700 w 8033654"/>
                  <a:gd name="connsiteY6" fmla="*/ 0 h 7031915"/>
                  <a:gd name="connsiteX7" fmla="*/ 5971740 w 8033654"/>
                  <a:gd name="connsiteY7" fmla="*/ 0 h 7031915"/>
                  <a:gd name="connsiteX8" fmla="*/ 6090371 w 8033654"/>
                  <a:gd name="connsiteY8" fmla="*/ 11959 h 7031915"/>
                  <a:gd name="connsiteX9" fmla="*/ 6357004 w 8033654"/>
                  <a:gd name="connsiteY9" fmla="*/ 143562 h 7031915"/>
                  <a:gd name="connsiteX10" fmla="*/ 6421756 w 8033654"/>
                  <a:gd name="connsiteY10" fmla="*/ 209878 h 7031915"/>
                  <a:gd name="connsiteX11" fmla="*/ 6426018 w 8033654"/>
                  <a:gd name="connsiteY11" fmla="*/ 214243 h 7031915"/>
                  <a:gd name="connsiteX12" fmla="*/ 6463356 w 8033654"/>
                  <a:gd name="connsiteY12" fmla="*/ 268125 h 7031915"/>
                  <a:gd name="connsiteX13" fmla="*/ 6480094 w 8033654"/>
                  <a:gd name="connsiteY13" fmla="*/ 292278 h 7031915"/>
                  <a:gd name="connsiteX14" fmla="*/ 7949332 w 8033654"/>
                  <a:gd name="connsiteY14" fmla="*/ 3216682 h 7031915"/>
                  <a:gd name="connsiteX15" fmla="*/ 7992299 w 8033654"/>
                  <a:gd name="connsiteY15" fmla="*/ 3302616 h 7031915"/>
                  <a:gd name="connsiteX16" fmla="*/ 8021693 w 8033654"/>
                  <a:gd name="connsiteY16" fmla="*/ 3397306 h 7031915"/>
                  <a:gd name="connsiteX17" fmla="*/ 8033654 w 8033654"/>
                  <a:gd name="connsiteY17" fmla="*/ 3515957 h 7031915"/>
                  <a:gd name="connsiteX18" fmla="*/ 8021693 w 8033654"/>
                  <a:gd name="connsiteY18" fmla="*/ 3634608 h 7031915"/>
                  <a:gd name="connsiteX19" fmla="*/ 7992299 w 8033654"/>
                  <a:gd name="connsiteY19" fmla="*/ 3729298 h 7031915"/>
                  <a:gd name="connsiteX20" fmla="*/ 7949332 w 8033654"/>
                  <a:gd name="connsiteY20" fmla="*/ 3815232 h 7031915"/>
                  <a:gd name="connsiteX21" fmla="*/ 6535055 w 8033654"/>
                  <a:gd name="connsiteY21" fmla="*/ 6638796 h 7031915"/>
                  <a:gd name="connsiteX22" fmla="*/ 6524461 w 8033654"/>
                  <a:gd name="connsiteY22" fmla="*/ 6646190 h 7031915"/>
                  <a:gd name="connsiteX23" fmla="*/ 6482456 w 8033654"/>
                  <a:gd name="connsiteY23" fmla="*/ 6736229 h 7031915"/>
                  <a:gd name="connsiteX24" fmla="*/ 6090371 w 8033654"/>
                  <a:gd name="connsiteY24" fmla="*/ 7019956 h 7031915"/>
                  <a:gd name="connsiteX25" fmla="*/ 5971740 w 8033654"/>
                  <a:gd name="connsiteY25" fmla="*/ 7031915 h 7031915"/>
                  <a:gd name="connsiteX26" fmla="*/ 5971700 w 8033654"/>
                  <a:gd name="connsiteY26" fmla="*/ 7031915 h 7031915"/>
                  <a:gd name="connsiteX27" fmla="*/ 2058326 w 8033654"/>
                  <a:gd name="connsiteY27" fmla="*/ 7031915 h 7031915"/>
                  <a:gd name="connsiteX28" fmla="*/ 2176958 w 8033654"/>
                  <a:gd name="connsiteY28" fmla="*/ 7019956 h 7031915"/>
                  <a:gd name="connsiteX29" fmla="*/ 2176957 w 8033654"/>
                  <a:gd name="connsiteY29" fmla="*/ 7019956 h 7031915"/>
                  <a:gd name="connsiteX30" fmla="*/ 2058326 w 8033654"/>
                  <a:gd name="connsiteY30" fmla="*/ 7031915 h 7031915"/>
                  <a:gd name="connsiteX31" fmla="*/ 2058286 w 8033654"/>
                  <a:gd name="connsiteY31" fmla="*/ 7031915 h 7031915"/>
                  <a:gd name="connsiteX32" fmla="*/ 1939655 w 8033654"/>
                  <a:gd name="connsiteY32" fmla="*/ 7019956 h 7031915"/>
                  <a:gd name="connsiteX33" fmla="*/ 1642007 w 8033654"/>
                  <a:gd name="connsiteY33" fmla="*/ 6859480 h 7031915"/>
                  <a:gd name="connsiteX34" fmla="*/ 1570173 w 8033654"/>
                  <a:gd name="connsiteY34" fmla="*/ 6772417 h 7031915"/>
                  <a:gd name="connsiteX35" fmla="*/ 1508795 w 8033654"/>
                  <a:gd name="connsiteY35" fmla="*/ 6649661 h 7031915"/>
                  <a:gd name="connsiteX36" fmla="*/ 1508794 w 8033654"/>
                  <a:gd name="connsiteY36" fmla="*/ 6649657 h 7031915"/>
                  <a:gd name="connsiteX37" fmla="*/ 115723 w 8033654"/>
                  <a:gd name="connsiteY37" fmla="*/ 3863519 h 7031915"/>
                  <a:gd name="connsiteX38" fmla="*/ 115722 w 8033654"/>
                  <a:gd name="connsiteY38" fmla="*/ 3863518 h 7031915"/>
                  <a:gd name="connsiteX39" fmla="*/ 29470 w 8033654"/>
                  <a:gd name="connsiteY39" fmla="*/ 3691014 h 7031915"/>
                  <a:gd name="connsiteX40" fmla="*/ 11962 w 8033654"/>
                  <a:gd name="connsiteY40" fmla="*/ 3634608 h 7031915"/>
                  <a:gd name="connsiteX41" fmla="*/ 0 w 8033654"/>
                  <a:gd name="connsiteY41" fmla="*/ 3515957 h 7031915"/>
                  <a:gd name="connsiteX42" fmla="*/ 11962 w 8033654"/>
                  <a:gd name="connsiteY42" fmla="*/ 3397306 h 7031915"/>
                  <a:gd name="connsiteX43" fmla="*/ 29470 w 8033654"/>
                  <a:gd name="connsiteY43" fmla="*/ 3340901 h 7031915"/>
                  <a:gd name="connsiteX44" fmla="*/ 115722 w 8033654"/>
                  <a:gd name="connsiteY44" fmla="*/ 3168396 h 7031915"/>
                  <a:gd name="connsiteX45" fmla="*/ 115723 w 8033654"/>
                  <a:gd name="connsiteY45" fmla="*/ 3168396 h 7031915"/>
                  <a:gd name="connsiteX46" fmla="*/ 1508796 w 8033654"/>
                  <a:gd name="connsiteY46" fmla="*/ 382255 h 7031915"/>
                  <a:gd name="connsiteX47" fmla="*/ 1570174 w 8033654"/>
                  <a:gd name="connsiteY47" fmla="*/ 259499 h 7031915"/>
                  <a:gd name="connsiteX48" fmla="*/ 1642008 w 8033654"/>
                  <a:gd name="connsiteY48" fmla="*/ 172435 h 7031915"/>
                  <a:gd name="connsiteX49" fmla="*/ 1939656 w 8033654"/>
                  <a:gd name="connsiteY49" fmla="*/ 11959 h 7031915"/>
                  <a:gd name="connsiteX50" fmla="*/ 2058287 w 8033654"/>
                  <a:gd name="connsiteY50"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6480094 w 8033654"/>
                  <a:gd name="connsiteY10" fmla="*/ 292278 h 7031915"/>
                  <a:gd name="connsiteX11" fmla="*/ 7949332 w 8033654"/>
                  <a:gd name="connsiteY11" fmla="*/ 3216682 h 7031915"/>
                  <a:gd name="connsiteX12" fmla="*/ 7992299 w 8033654"/>
                  <a:gd name="connsiteY12" fmla="*/ 3302616 h 7031915"/>
                  <a:gd name="connsiteX13" fmla="*/ 8021693 w 8033654"/>
                  <a:gd name="connsiteY13" fmla="*/ 3397306 h 7031915"/>
                  <a:gd name="connsiteX14" fmla="*/ 8033654 w 8033654"/>
                  <a:gd name="connsiteY14" fmla="*/ 3515957 h 7031915"/>
                  <a:gd name="connsiteX15" fmla="*/ 8021693 w 8033654"/>
                  <a:gd name="connsiteY15" fmla="*/ 3634608 h 7031915"/>
                  <a:gd name="connsiteX16" fmla="*/ 7992299 w 8033654"/>
                  <a:gd name="connsiteY16" fmla="*/ 3729298 h 7031915"/>
                  <a:gd name="connsiteX17" fmla="*/ 7949332 w 8033654"/>
                  <a:gd name="connsiteY17" fmla="*/ 3815232 h 7031915"/>
                  <a:gd name="connsiteX18" fmla="*/ 6535055 w 8033654"/>
                  <a:gd name="connsiteY18" fmla="*/ 6638796 h 7031915"/>
                  <a:gd name="connsiteX19" fmla="*/ 6524461 w 8033654"/>
                  <a:gd name="connsiteY19" fmla="*/ 6646190 h 7031915"/>
                  <a:gd name="connsiteX20" fmla="*/ 6482456 w 8033654"/>
                  <a:gd name="connsiteY20" fmla="*/ 6736229 h 7031915"/>
                  <a:gd name="connsiteX21" fmla="*/ 6090371 w 8033654"/>
                  <a:gd name="connsiteY21" fmla="*/ 7019956 h 7031915"/>
                  <a:gd name="connsiteX22" fmla="*/ 5971740 w 8033654"/>
                  <a:gd name="connsiteY22" fmla="*/ 7031915 h 7031915"/>
                  <a:gd name="connsiteX23" fmla="*/ 5971700 w 8033654"/>
                  <a:gd name="connsiteY23" fmla="*/ 7031915 h 7031915"/>
                  <a:gd name="connsiteX24" fmla="*/ 2058326 w 8033654"/>
                  <a:gd name="connsiteY24" fmla="*/ 7031915 h 7031915"/>
                  <a:gd name="connsiteX25" fmla="*/ 2176958 w 8033654"/>
                  <a:gd name="connsiteY25" fmla="*/ 7019956 h 7031915"/>
                  <a:gd name="connsiteX26" fmla="*/ 2176957 w 8033654"/>
                  <a:gd name="connsiteY26" fmla="*/ 7019956 h 7031915"/>
                  <a:gd name="connsiteX27" fmla="*/ 2058326 w 8033654"/>
                  <a:gd name="connsiteY27" fmla="*/ 7031915 h 7031915"/>
                  <a:gd name="connsiteX28" fmla="*/ 2058286 w 8033654"/>
                  <a:gd name="connsiteY28" fmla="*/ 7031915 h 7031915"/>
                  <a:gd name="connsiteX29" fmla="*/ 1939655 w 8033654"/>
                  <a:gd name="connsiteY29" fmla="*/ 7019956 h 7031915"/>
                  <a:gd name="connsiteX30" fmla="*/ 1642007 w 8033654"/>
                  <a:gd name="connsiteY30" fmla="*/ 6859480 h 7031915"/>
                  <a:gd name="connsiteX31" fmla="*/ 1570173 w 8033654"/>
                  <a:gd name="connsiteY31" fmla="*/ 6772417 h 7031915"/>
                  <a:gd name="connsiteX32" fmla="*/ 1508795 w 8033654"/>
                  <a:gd name="connsiteY32" fmla="*/ 6649661 h 7031915"/>
                  <a:gd name="connsiteX33" fmla="*/ 1508794 w 8033654"/>
                  <a:gd name="connsiteY33" fmla="*/ 6649657 h 7031915"/>
                  <a:gd name="connsiteX34" fmla="*/ 115723 w 8033654"/>
                  <a:gd name="connsiteY34" fmla="*/ 3863519 h 7031915"/>
                  <a:gd name="connsiteX35" fmla="*/ 115722 w 8033654"/>
                  <a:gd name="connsiteY35" fmla="*/ 3863518 h 7031915"/>
                  <a:gd name="connsiteX36" fmla="*/ 29470 w 8033654"/>
                  <a:gd name="connsiteY36" fmla="*/ 3691014 h 7031915"/>
                  <a:gd name="connsiteX37" fmla="*/ 11962 w 8033654"/>
                  <a:gd name="connsiteY37" fmla="*/ 3634608 h 7031915"/>
                  <a:gd name="connsiteX38" fmla="*/ 0 w 8033654"/>
                  <a:gd name="connsiteY38" fmla="*/ 3515957 h 7031915"/>
                  <a:gd name="connsiteX39" fmla="*/ 11962 w 8033654"/>
                  <a:gd name="connsiteY39" fmla="*/ 3397306 h 7031915"/>
                  <a:gd name="connsiteX40" fmla="*/ 29470 w 8033654"/>
                  <a:gd name="connsiteY40" fmla="*/ 3340901 h 7031915"/>
                  <a:gd name="connsiteX41" fmla="*/ 115722 w 8033654"/>
                  <a:gd name="connsiteY41" fmla="*/ 3168396 h 7031915"/>
                  <a:gd name="connsiteX42" fmla="*/ 115723 w 8033654"/>
                  <a:gd name="connsiteY42" fmla="*/ 3168396 h 7031915"/>
                  <a:gd name="connsiteX43" fmla="*/ 1508796 w 8033654"/>
                  <a:gd name="connsiteY43" fmla="*/ 382255 h 7031915"/>
                  <a:gd name="connsiteX44" fmla="*/ 1570174 w 8033654"/>
                  <a:gd name="connsiteY44" fmla="*/ 259499 h 7031915"/>
                  <a:gd name="connsiteX45" fmla="*/ 1642008 w 8033654"/>
                  <a:gd name="connsiteY45" fmla="*/ 172435 h 7031915"/>
                  <a:gd name="connsiteX46" fmla="*/ 1939656 w 8033654"/>
                  <a:gd name="connsiteY46" fmla="*/ 11959 h 7031915"/>
                  <a:gd name="connsiteX47" fmla="*/ 2058287 w 8033654"/>
                  <a:gd name="connsiteY47"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176957 w 8033654"/>
                  <a:gd name="connsiteY25" fmla="*/ 7019956 h 7031915"/>
                  <a:gd name="connsiteX26" fmla="*/ 2058326 w 8033654"/>
                  <a:gd name="connsiteY26" fmla="*/ 7031915 h 7031915"/>
                  <a:gd name="connsiteX27" fmla="*/ 2058286 w 8033654"/>
                  <a:gd name="connsiteY27" fmla="*/ 7031915 h 7031915"/>
                  <a:gd name="connsiteX28" fmla="*/ 1939655 w 8033654"/>
                  <a:gd name="connsiteY28" fmla="*/ 7019956 h 7031915"/>
                  <a:gd name="connsiteX29" fmla="*/ 1642007 w 8033654"/>
                  <a:gd name="connsiteY29" fmla="*/ 6859480 h 7031915"/>
                  <a:gd name="connsiteX30" fmla="*/ 1570173 w 8033654"/>
                  <a:gd name="connsiteY30" fmla="*/ 6772417 h 7031915"/>
                  <a:gd name="connsiteX31" fmla="*/ 1508795 w 8033654"/>
                  <a:gd name="connsiteY31" fmla="*/ 6649661 h 7031915"/>
                  <a:gd name="connsiteX32" fmla="*/ 1508794 w 8033654"/>
                  <a:gd name="connsiteY32" fmla="*/ 6649657 h 7031915"/>
                  <a:gd name="connsiteX33" fmla="*/ 115723 w 8033654"/>
                  <a:gd name="connsiteY33" fmla="*/ 3863519 h 7031915"/>
                  <a:gd name="connsiteX34" fmla="*/ 115722 w 8033654"/>
                  <a:gd name="connsiteY34" fmla="*/ 3863518 h 7031915"/>
                  <a:gd name="connsiteX35" fmla="*/ 29470 w 8033654"/>
                  <a:gd name="connsiteY35" fmla="*/ 3691014 h 7031915"/>
                  <a:gd name="connsiteX36" fmla="*/ 11962 w 8033654"/>
                  <a:gd name="connsiteY36" fmla="*/ 3634608 h 7031915"/>
                  <a:gd name="connsiteX37" fmla="*/ 0 w 8033654"/>
                  <a:gd name="connsiteY37" fmla="*/ 3515957 h 7031915"/>
                  <a:gd name="connsiteX38" fmla="*/ 11962 w 8033654"/>
                  <a:gd name="connsiteY38" fmla="*/ 3397306 h 7031915"/>
                  <a:gd name="connsiteX39" fmla="*/ 29470 w 8033654"/>
                  <a:gd name="connsiteY39" fmla="*/ 3340901 h 7031915"/>
                  <a:gd name="connsiteX40" fmla="*/ 115722 w 8033654"/>
                  <a:gd name="connsiteY40" fmla="*/ 3168396 h 7031915"/>
                  <a:gd name="connsiteX41" fmla="*/ 115723 w 8033654"/>
                  <a:gd name="connsiteY41" fmla="*/ 3168396 h 7031915"/>
                  <a:gd name="connsiteX42" fmla="*/ 1508796 w 8033654"/>
                  <a:gd name="connsiteY42" fmla="*/ 382255 h 7031915"/>
                  <a:gd name="connsiteX43" fmla="*/ 1570174 w 8033654"/>
                  <a:gd name="connsiteY43" fmla="*/ 259499 h 7031915"/>
                  <a:gd name="connsiteX44" fmla="*/ 1642008 w 8033654"/>
                  <a:gd name="connsiteY44" fmla="*/ 172435 h 7031915"/>
                  <a:gd name="connsiteX45" fmla="*/ 1939656 w 8033654"/>
                  <a:gd name="connsiteY45" fmla="*/ 11959 h 7031915"/>
                  <a:gd name="connsiteX46" fmla="*/ 2058287 w 8033654"/>
                  <a:gd name="connsiteY46"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058326 w 8033654"/>
                  <a:gd name="connsiteY25" fmla="*/ 7031915 h 7031915"/>
                  <a:gd name="connsiteX26" fmla="*/ 2058286 w 8033654"/>
                  <a:gd name="connsiteY26" fmla="*/ 7031915 h 7031915"/>
                  <a:gd name="connsiteX27" fmla="*/ 1939655 w 8033654"/>
                  <a:gd name="connsiteY27" fmla="*/ 7019956 h 7031915"/>
                  <a:gd name="connsiteX28" fmla="*/ 1642007 w 8033654"/>
                  <a:gd name="connsiteY28" fmla="*/ 6859480 h 7031915"/>
                  <a:gd name="connsiteX29" fmla="*/ 1570173 w 8033654"/>
                  <a:gd name="connsiteY29" fmla="*/ 6772417 h 7031915"/>
                  <a:gd name="connsiteX30" fmla="*/ 1508795 w 8033654"/>
                  <a:gd name="connsiteY30" fmla="*/ 6649661 h 7031915"/>
                  <a:gd name="connsiteX31" fmla="*/ 1508794 w 8033654"/>
                  <a:gd name="connsiteY31" fmla="*/ 6649657 h 7031915"/>
                  <a:gd name="connsiteX32" fmla="*/ 115723 w 8033654"/>
                  <a:gd name="connsiteY32" fmla="*/ 3863519 h 7031915"/>
                  <a:gd name="connsiteX33" fmla="*/ 115722 w 8033654"/>
                  <a:gd name="connsiteY33" fmla="*/ 3863518 h 7031915"/>
                  <a:gd name="connsiteX34" fmla="*/ 29470 w 8033654"/>
                  <a:gd name="connsiteY34" fmla="*/ 3691014 h 7031915"/>
                  <a:gd name="connsiteX35" fmla="*/ 11962 w 8033654"/>
                  <a:gd name="connsiteY35" fmla="*/ 3634608 h 7031915"/>
                  <a:gd name="connsiteX36" fmla="*/ 0 w 8033654"/>
                  <a:gd name="connsiteY36" fmla="*/ 3515957 h 7031915"/>
                  <a:gd name="connsiteX37" fmla="*/ 11962 w 8033654"/>
                  <a:gd name="connsiteY37" fmla="*/ 3397306 h 7031915"/>
                  <a:gd name="connsiteX38" fmla="*/ 29470 w 8033654"/>
                  <a:gd name="connsiteY38" fmla="*/ 3340901 h 7031915"/>
                  <a:gd name="connsiteX39" fmla="*/ 115722 w 8033654"/>
                  <a:gd name="connsiteY39" fmla="*/ 3168396 h 7031915"/>
                  <a:gd name="connsiteX40" fmla="*/ 115723 w 8033654"/>
                  <a:gd name="connsiteY40" fmla="*/ 3168396 h 7031915"/>
                  <a:gd name="connsiteX41" fmla="*/ 1508796 w 8033654"/>
                  <a:gd name="connsiteY41" fmla="*/ 382255 h 7031915"/>
                  <a:gd name="connsiteX42" fmla="*/ 1570174 w 8033654"/>
                  <a:gd name="connsiteY42" fmla="*/ 259499 h 7031915"/>
                  <a:gd name="connsiteX43" fmla="*/ 1642008 w 8033654"/>
                  <a:gd name="connsiteY43" fmla="*/ 172435 h 7031915"/>
                  <a:gd name="connsiteX44" fmla="*/ 1939656 w 8033654"/>
                  <a:gd name="connsiteY44" fmla="*/ 11959 h 7031915"/>
                  <a:gd name="connsiteX45" fmla="*/ 2058287 w 8033654"/>
                  <a:gd name="connsiteY45"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058326 w 8033654"/>
                  <a:gd name="connsiteY24" fmla="*/ 7031915 h 7031915"/>
                  <a:gd name="connsiteX25" fmla="*/ 2058286 w 8033654"/>
                  <a:gd name="connsiteY25" fmla="*/ 7031915 h 7031915"/>
                  <a:gd name="connsiteX26" fmla="*/ 1939655 w 8033654"/>
                  <a:gd name="connsiteY26" fmla="*/ 7019956 h 7031915"/>
                  <a:gd name="connsiteX27" fmla="*/ 1642007 w 8033654"/>
                  <a:gd name="connsiteY27" fmla="*/ 6859480 h 7031915"/>
                  <a:gd name="connsiteX28" fmla="*/ 1570173 w 8033654"/>
                  <a:gd name="connsiteY28" fmla="*/ 6772417 h 7031915"/>
                  <a:gd name="connsiteX29" fmla="*/ 1508795 w 8033654"/>
                  <a:gd name="connsiteY29" fmla="*/ 6649661 h 7031915"/>
                  <a:gd name="connsiteX30" fmla="*/ 1508794 w 8033654"/>
                  <a:gd name="connsiteY30" fmla="*/ 6649657 h 7031915"/>
                  <a:gd name="connsiteX31" fmla="*/ 115723 w 8033654"/>
                  <a:gd name="connsiteY31" fmla="*/ 3863519 h 7031915"/>
                  <a:gd name="connsiteX32" fmla="*/ 115722 w 8033654"/>
                  <a:gd name="connsiteY32" fmla="*/ 3863518 h 7031915"/>
                  <a:gd name="connsiteX33" fmla="*/ 29470 w 8033654"/>
                  <a:gd name="connsiteY33" fmla="*/ 3691014 h 7031915"/>
                  <a:gd name="connsiteX34" fmla="*/ 11962 w 8033654"/>
                  <a:gd name="connsiteY34" fmla="*/ 3634608 h 7031915"/>
                  <a:gd name="connsiteX35" fmla="*/ 0 w 8033654"/>
                  <a:gd name="connsiteY35" fmla="*/ 3515957 h 7031915"/>
                  <a:gd name="connsiteX36" fmla="*/ 11962 w 8033654"/>
                  <a:gd name="connsiteY36" fmla="*/ 3397306 h 7031915"/>
                  <a:gd name="connsiteX37" fmla="*/ 29470 w 8033654"/>
                  <a:gd name="connsiteY37" fmla="*/ 3340901 h 7031915"/>
                  <a:gd name="connsiteX38" fmla="*/ 115722 w 8033654"/>
                  <a:gd name="connsiteY38" fmla="*/ 3168396 h 7031915"/>
                  <a:gd name="connsiteX39" fmla="*/ 115723 w 8033654"/>
                  <a:gd name="connsiteY39" fmla="*/ 3168396 h 7031915"/>
                  <a:gd name="connsiteX40" fmla="*/ 1508796 w 8033654"/>
                  <a:gd name="connsiteY40" fmla="*/ 382255 h 7031915"/>
                  <a:gd name="connsiteX41" fmla="*/ 1570174 w 8033654"/>
                  <a:gd name="connsiteY41" fmla="*/ 259499 h 7031915"/>
                  <a:gd name="connsiteX42" fmla="*/ 1642008 w 8033654"/>
                  <a:gd name="connsiteY42" fmla="*/ 172435 h 7031915"/>
                  <a:gd name="connsiteX43" fmla="*/ 1939656 w 8033654"/>
                  <a:gd name="connsiteY43" fmla="*/ 11959 h 7031915"/>
                  <a:gd name="connsiteX44" fmla="*/ 2058287 w 8033654"/>
                  <a:gd name="connsiteY44"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482456 w 8033654"/>
                  <a:gd name="connsiteY18" fmla="*/ 6736229 h 7031915"/>
                  <a:gd name="connsiteX19" fmla="*/ 6090371 w 8033654"/>
                  <a:gd name="connsiteY19" fmla="*/ 7019956 h 7031915"/>
                  <a:gd name="connsiteX20" fmla="*/ 5971740 w 8033654"/>
                  <a:gd name="connsiteY20" fmla="*/ 7031915 h 7031915"/>
                  <a:gd name="connsiteX21" fmla="*/ 5971700 w 8033654"/>
                  <a:gd name="connsiteY21" fmla="*/ 7031915 h 7031915"/>
                  <a:gd name="connsiteX22" fmla="*/ 2058326 w 8033654"/>
                  <a:gd name="connsiteY22" fmla="*/ 7031915 h 7031915"/>
                  <a:gd name="connsiteX23" fmla="*/ 2058326 w 8033654"/>
                  <a:gd name="connsiteY23" fmla="*/ 7031915 h 7031915"/>
                  <a:gd name="connsiteX24" fmla="*/ 2058286 w 8033654"/>
                  <a:gd name="connsiteY24" fmla="*/ 7031915 h 7031915"/>
                  <a:gd name="connsiteX25" fmla="*/ 1939655 w 8033654"/>
                  <a:gd name="connsiteY25" fmla="*/ 7019956 h 7031915"/>
                  <a:gd name="connsiteX26" fmla="*/ 1642007 w 8033654"/>
                  <a:gd name="connsiteY26" fmla="*/ 6859480 h 7031915"/>
                  <a:gd name="connsiteX27" fmla="*/ 1570173 w 8033654"/>
                  <a:gd name="connsiteY27" fmla="*/ 6772417 h 7031915"/>
                  <a:gd name="connsiteX28" fmla="*/ 1508795 w 8033654"/>
                  <a:gd name="connsiteY28" fmla="*/ 6649661 h 7031915"/>
                  <a:gd name="connsiteX29" fmla="*/ 1508794 w 8033654"/>
                  <a:gd name="connsiteY29" fmla="*/ 6649657 h 7031915"/>
                  <a:gd name="connsiteX30" fmla="*/ 115723 w 8033654"/>
                  <a:gd name="connsiteY30" fmla="*/ 3863519 h 7031915"/>
                  <a:gd name="connsiteX31" fmla="*/ 115722 w 8033654"/>
                  <a:gd name="connsiteY31" fmla="*/ 3863518 h 7031915"/>
                  <a:gd name="connsiteX32" fmla="*/ 29470 w 8033654"/>
                  <a:gd name="connsiteY32" fmla="*/ 3691014 h 7031915"/>
                  <a:gd name="connsiteX33" fmla="*/ 11962 w 8033654"/>
                  <a:gd name="connsiteY33" fmla="*/ 3634608 h 7031915"/>
                  <a:gd name="connsiteX34" fmla="*/ 0 w 8033654"/>
                  <a:gd name="connsiteY34" fmla="*/ 3515957 h 7031915"/>
                  <a:gd name="connsiteX35" fmla="*/ 11962 w 8033654"/>
                  <a:gd name="connsiteY35" fmla="*/ 3397306 h 7031915"/>
                  <a:gd name="connsiteX36" fmla="*/ 29470 w 8033654"/>
                  <a:gd name="connsiteY36" fmla="*/ 3340901 h 7031915"/>
                  <a:gd name="connsiteX37" fmla="*/ 115722 w 8033654"/>
                  <a:gd name="connsiteY37" fmla="*/ 3168396 h 7031915"/>
                  <a:gd name="connsiteX38" fmla="*/ 115723 w 8033654"/>
                  <a:gd name="connsiteY38" fmla="*/ 3168396 h 7031915"/>
                  <a:gd name="connsiteX39" fmla="*/ 1508796 w 8033654"/>
                  <a:gd name="connsiteY39" fmla="*/ 382255 h 7031915"/>
                  <a:gd name="connsiteX40" fmla="*/ 1570174 w 8033654"/>
                  <a:gd name="connsiteY40" fmla="*/ 259499 h 7031915"/>
                  <a:gd name="connsiteX41" fmla="*/ 1642008 w 8033654"/>
                  <a:gd name="connsiteY41" fmla="*/ 172435 h 7031915"/>
                  <a:gd name="connsiteX42" fmla="*/ 1939656 w 8033654"/>
                  <a:gd name="connsiteY42" fmla="*/ 11959 h 7031915"/>
                  <a:gd name="connsiteX43" fmla="*/ 2058287 w 8033654"/>
                  <a:gd name="connsiteY43"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482456 w 8033654"/>
                  <a:gd name="connsiteY17" fmla="*/ 6736229 h 7031915"/>
                  <a:gd name="connsiteX18" fmla="*/ 6090371 w 8033654"/>
                  <a:gd name="connsiteY18" fmla="*/ 7019956 h 7031915"/>
                  <a:gd name="connsiteX19" fmla="*/ 5971740 w 8033654"/>
                  <a:gd name="connsiteY19" fmla="*/ 7031915 h 7031915"/>
                  <a:gd name="connsiteX20" fmla="*/ 5971700 w 8033654"/>
                  <a:gd name="connsiteY20" fmla="*/ 7031915 h 7031915"/>
                  <a:gd name="connsiteX21" fmla="*/ 2058326 w 8033654"/>
                  <a:gd name="connsiteY21" fmla="*/ 7031915 h 7031915"/>
                  <a:gd name="connsiteX22" fmla="*/ 2058326 w 8033654"/>
                  <a:gd name="connsiteY22" fmla="*/ 7031915 h 7031915"/>
                  <a:gd name="connsiteX23" fmla="*/ 2058286 w 8033654"/>
                  <a:gd name="connsiteY23" fmla="*/ 7031915 h 7031915"/>
                  <a:gd name="connsiteX24" fmla="*/ 1939655 w 8033654"/>
                  <a:gd name="connsiteY24" fmla="*/ 7019956 h 7031915"/>
                  <a:gd name="connsiteX25" fmla="*/ 1642007 w 8033654"/>
                  <a:gd name="connsiteY25" fmla="*/ 6859480 h 7031915"/>
                  <a:gd name="connsiteX26" fmla="*/ 1570173 w 8033654"/>
                  <a:gd name="connsiteY26" fmla="*/ 6772417 h 7031915"/>
                  <a:gd name="connsiteX27" fmla="*/ 1508795 w 8033654"/>
                  <a:gd name="connsiteY27" fmla="*/ 6649661 h 7031915"/>
                  <a:gd name="connsiteX28" fmla="*/ 1508794 w 8033654"/>
                  <a:gd name="connsiteY28" fmla="*/ 6649657 h 7031915"/>
                  <a:gd name="connsiteX29" fmla="*/ 115723 w 8033654"/>
                  <a:gd name="connsiteY29" fmla="*/ 3863519 h 7031915"/>
                  <a:gd name="connsiteX30" fmla="*/ 115722 w 8033654"/>
                  <a:gd name="connsiteY30" fmla="*/ 3863518 h 7031915"/>
                  <a:gd name="connsiteX31" fmla="*/ 29470 w 8033654"/>
                  <a:gd name="connsiteY31" fmla="*/ 3691014 h 7031915"/>
                  <a:gd name="connsiteX32" fmla="*/ 11962 w 8033654"/>
                  <a:gd name="connsiteY32" fmla="*/ 3634608 h 7031915"/>
                  <a:gd name="connsiteX33" fmla="*/ 0 w 8033654"/>
                  <a:gd name="connsiteY33" fmla="*/ 3515957 h 7031915"/>
                  <a:gd name="connsiteX34" fmla="*/ 11962 w 8033654"/>
                  <a:gd name="connsiteY34" fmla="*/ 3397306 h 7031915"/>
                  <a:gd name="connsiteX35" fmla="*/ 29470 w 8033654"/>
                  <a:gd name="connsiteY35" fmla="*/ 3340901 h 7031915"/>
                  <a:gd name="connsiteX36" fmla="*/ 115722 w 8033654"/>
                  <a:gd name="connsiteY36" fmla="*/ 3168396 h 7031915"/>
                  <a:gd name="connsiteX37" fmla="*/ 115723 w 8033654"/>
                  <a:gd name="connsiteY37" fmla="*/ 3168396 h 7031915"/>
                  <a:gd name="connsiteX38" fmla="*/ 1508796 w 8033654"/>
                  <a:gd name="connsiteY38" fmla="*/ 382255 h 7031915"/>
                  <a:gd name="connsiteX39" fmla="*/ 1570174 w 8033654"/>
                  <a:gd name="connsiteY39" fmla="*/ 259499 h 7031915"/>
                  <a:gd name="connsiteX40" fmla="*/ 1642008 w 8033654"/>
                  <a:gd name="connsiteY40" fmla="*/ 172435 h 7031915"/>
                  <a:gd name="connsiteX41" fmla="*/ 1939656 w 8033654"/>
                  <a:gd name="connsiteY41" fmla="*/ 11959 h 7031915"/>
                  <a:gd name="connsiteX42" fmla="*/ 2058287 w 8033654"/>
                  <a:gd name="connsiteY42"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7949332 w 8033654"/>
                  <a:gd name="connsiteY9" fmla="*/ 3216682 h 7031915"/>
                  <a:gd name="connsiteX10" fmla="*/ 7992299 w 8033654"/>
                  <a:gd name="connsiteY10" fmla="*/ 3302616 h 7031915"/>
                  <a:gd name="connsiteX11" fmla="*/ 8021693 w 8033654"/>
                  <a:gd name="connsiteY11" fmla="*/ 3397306 h 7031915"/>
                  <a:gd name="connsiteX12" fmla="*/ 8033654 w 8033654"/>
                  <a:gd name="connsiteY12" fmla="*/ 3515957 h 7031915"/>
                  <a:gd name="connsiteX13" fmla="*/ 8021693 w 8033654"/>
                  <a:gd name="connsiteY13" fmla="*/ 3634608 h 7031915"/>
                  <a:gd name="connsiteX14" fmla="*/ 7992299 w 8033654"/>
                  <a:gd name="connsiteY14" fmla="*/ 3729298 h 7031915"/>
                  <a:gd name="connsiteX15" fmla="*/ 7949332 w 8033654"/>
                  <a:gd name="connsiteY15" fmla="*/ 3815232 h 7031915"/>
                  <a:gd name="connsiteX16" fmla="*/ 6482456 w 8033654"/>
                  <a:gd name="connsiteY16" fmla="*/ 6736229 h 7031915"/>
                  <a:gd name="connsiteX17" fmla="*/ 6090371 w 8033654"/>
                  <a:gd name="connsiteY17" fmla="*/ 7019956 h 7031915"/>
                  <a:gd name="connsiteX18" fmla="*/ 5971740 w 8033654"/>
                  <a:gd name="connsiteY18" fmla="*/ 7031915 h 7031915"/>
                  <a:gd name="connsiteX19" fmla="*/ 5971700 w 8033654"/>
                  <a:gd name="connsiteY19" fmla="*/ 7031915 h 7031915"/>
                  <a:gd name="connsiteX20" fmla="*/ 2058326 w 8033654"/>
                  <a:gd name="connsiteY20" fmla="*/ 7031915 h 7031915"/>
                  <a:gd name="connsiteX21" fmla="*/ 2058326 w 8033654"/>
                  <a:gd name="connsiteY21" fmla="*/ 7031915 h 7031915"/>
                  <a:gd name="connsiteX22" fmla="*/ 2058286 w 8033654"/>
                  <a:gd name="connsiteY22" fmla="*/ 7031915 h 7031915"/>
                  <a:gd name="connsiteX23" fmla="*/ 1939655 w 8033654"/>
                  <a:gd name="connsiteY23" fmla="*/ 7019956 h 7031915"/>
                  <a:gd name="connsiteX24" fmla="*/ 1642007 w 8033654"/>
                  <a:gd name="connsiteY24" fmla="*/ 6859480 h 7031915"/>
                  <a:gd name="connsiteX25" fmla="*/ 1570173 w 8033654"/>
                  <a:gd name="connsiteY25" fmla="*/ 6772417 h 7031915"/>
                  <a:gd name="connsiteX26" fmla="*/ 1508795 w 8033654"/>
                  <a:gd name="connsiteY26" fmla="*/ 6649661 h 7031915"/>
                  <a:gd name="connsiteX27" fmla="*/ 1508794 w 8033654"/>
                  <a:gd name="connsiteY27" fmla="*/ 6649657 h 7031915"/>
                  <a:gd name="connsiteX28" fmla="*/ 115723 w 8033654"/>
                  <a:gd name="connsiteY28" fmla="*/ 3863519 h 7031915"/>
                  <a:gd name="connsiteX29" fmla="*/ 115722 w 8033654"/>
                  <a:gd name="connsiteY29" fmla="*/ 3863518 h 7031915"/>
                  <a:gd name="connsiteX30" fmla="*/ 29470 w 8033654"/>
                  <a:gd name="connsiteY30" fmla="*/ 3691014 h 7031915"/>
                  <a:gd name="connsiteX31" fmla="*/ 11962 w 8033654"/>
                  <a:gd name="connsiteY31" fmla="*/ 3634608 h 7031915"/>
                  <a:gd name="connsiteX32" fmla="*/ 0 w 8033654"/>
                  <a:gd name="connsiteY32" fmla="*/ 3515957 h 7031915"/>
                  <a:gd name="connsiteX33" fmla="*/ 11962 w 8033654"/>
                  <a:gd name="connsiteY33" fmla="*/ 3397306 h 7031915"/>
                  <a:gd name="connsiteX34" fmla="*/ 29470 w 8033654"/>
                  <a:gd name="connsiteY34" fmla="*/ 3340901 h 7031915"/>
                  <a:gd name="connsiteX35" fmla="*/ 115722 w 8033654"/>
                  <a:gd name="connsiteY35" fmla="*/ 3168396 h 7031915"/>
                  <a:gd name="connsiteX36" fmla="*/ 115723 w 8033654"/>
                  <a:gd name="connsiteY36" fmla="*/ 3168396 h 7031915"/>
                  <a:gd name="connsiteX37" fmla="*/ 1508796 w 8033654"/>
                  <a:gd name="connsiteY37" fmla="*/ 382255 h 7031915"/>
                  <a:gd name="connsiteX38" fmla="*/ 1570174 w 8033654"/>
                  <a:gd name="connsiteY38" fmla="*/ 259499 h 7031915"/>
                  <a:gd name="connsiteX39" fmla="*/ 1642008 w 8033654"/>
                  <a:gd name="connsiteY39" fmla="*/ 172435 h 7031915"/>
                  <a:gd name="connsiteX40" fmla="*/ 1939656 w 8033654"/>
                  <a:gd name="connsiteY40" fmla="*/ 11959 h 7031915"/>
                  <a:gd name="connsiteX41" fmla="*/ 2058287 w 8033654"/>
                  <a:gd name="connsiteY41" fmla="*/ 0 h 703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33654" h="7031915">
                    <a:moveTo>
                      <a:pt x="2058287" y="0"/>
                    </a:moveTo>
                    <a:lnTo>
                      <a:pt x="2058326" y="0"/>
                    </a:lnTo>
                    <a:lnTo>
                      <a:pt x="5971699" y="0"/>
                    </a:lnTo>
                    <a:lnTo>
                      <a:pt x="5971700" y="0"/>
                    </a:lnTo>
                    <a:lnTo>
                      <a:pt x="5971740" y="0"/>
                    </a:lnTo>
                    <a:lnTo>
                      <a:pt x="6090371" y="11959"/>
                    </a:lnTo>
                    <a:cubicBezTo>
                      <a:pt x="6190975" y="32545"/>
                      <a:pt x="6282232" y="78792"/>
                      <a:pt x="6357004" y="143562"/>
                    </a:cubicBezTo>
                    <a:lnTo>
                      <a:pt x="6421756" y="209878"/>
                    </a:lnTo>
                    <a:lnTo>
                      <a:pt x="6426018" y="214243"/>
                    </a:lnTo>
                    <a:lnTo>
                      <a:pt x="7949332" y="3216682"/>
                    </a:lnTo>
                    <a:lnTo>
                      <a:pt x="7992299" y="3302616"/>
                    </a:lnTo>
                    <a:lnTo>
                      <a:pt x="8021693" y="3397306"/>
                    </a:lnTo>
                    <a:cubicBezTo>
                      <a:pt x="8029535" y="3435632"/>
                      <a:pt x="8033654" y="3475313"/>
                      <a:pt x="8033654" y="3515957"/>
                    </a:cubicBezTo>
                    <a:cubicBezTo>
                      <a:pt x="8033654" y="3556601"/>
                      <a:pt x="8029535" y="3596283"/>
                      <a:pt x="8021693" y="3634608"/>
                    </a:cubicBezTo>
                    <a:lnTo>
                      <a:pt x="7992299" y="3729298"/>
                    </a:lnTo>
                    <a:lnTo>
                      <a:pt x="7949332" y="3815232"/>
                    </a:lnTo>
                    <a:lnTo>
                      <a:pt x="6482456" y="6736229"/>
                    </a:lnTo>
                    <a:cubicBezTo>
                      <a:pt x="6399753" y="6880056"/>
                      <a:pt x="6258044" y="6985646"/>
                      <a:pt x="6090371" y="7019956"/>
                    </a:cubicBezTo>
                    <a:lnTo>
                      <a:pt x="5971740" y="7031915"/>
                    </a:lnTo>
                    <a:lnTo>
                      <a:pt x="5971700" y="7031915"/>
                    </a:lnTo>
                    <a:lnTo>
                      <a:pt x="2058326" y="7031915"/>
                    </a:lnTo>
                    <a:lnTo>
                      <a:pt x="2058326" y="7031915"/>
                    </a:lnTo>
                    <a:lnTo>
                      <a:pt x="2058286" y="7031915"/>
                    </a:lnTo>
                    <a:lnTo>
                      <a:pt x="1939655" y="7019956"/>
                    </a:lnTo>
                    <a:cubicBezTo>
                      <a:pt x="1824680" y="6996429"/>
                      <a:pt x="1721912" y="6939386"/>
                      <a:pt x="1642007" y="6859480"/>
                    </a:cubicBezTo>
                    <a:lnTo>
                      <a:pt x="1570173" y="6772417"/>
                    </a:lnTo>
                    <a:lnTo>
                      <a:pt x="1508795" y="6649661"/>
                    </a:lnTo>
                    <a:cubicBezTo>
                      <a:pt x="1508795" y="6649660"/>
                      <a:pt x="1508794" y="6649658"/>
                      <a:pt x="1508794" y="6649657"/>
                    </a:cubicBezTo>
                    <a:lnTo>
                      <a:pt x="115723" y="3863519"/>
                    </a:lnTo>
                    <a:lnTo>
                      <a:pt x="115722" y="3863518"/>
                    </a:lnTo>
                    <a:lnTo>
                      <a:pt x="29470" y="3691014"/>
                    </a:lnTo>
                    <a:lnTo>
                      <a:pt x="11962" y="3634608"/>
                    </a:lnTo>
                    <a:cubicBezTo>
                      <a:pt x="4119" y="3596283"/>
                      <a:pt x="0" y="3556601"/>
                      <a:pt x="0" y="3515957"/>
                    </a:cubicBezTo>
                    <a:cubicBezTo>
                      <a:pt x="0" y="3475313"/>
                      <a:pt x="4119" y="3435632"/>
                      <a:pt x="11962" y="3397306"/>
                    </a:cubicBezTo>
                    <a:lnTo>
                      <a:pt x="29470" y="3340901"/>
                    </a:lnTo>
                    <a:lnTo>
                      <a:pt x="115722" y="3168396"/>
                    </a:lnTo>
                    <a:lnTo>
                      <a:pt x="115723" y="3168396"/>
                    </a:lnTo>
                    <a:lnTo>
                      <a:pt x="1508796" y="382255"/>
                    </a:lnTo>
                    <a:lnTo>
                      <a:pt x="1570174" y="259499"/>
                    </a:lnTo>
                    <a:lnTo>
                      <a:pt x="1642008" y="172435"/>
                    </a:lnTo>
                    <a:cubicBezTo>
                      <a:pt x="1721913" y="92530"/>
                      <a:pt x="1824680" y="35486"/>
                      <a:pt x="1939656" y="11959"/>
                    </a:cubicBezTo>
                    <a:lnTo>
                      <a:pt x="2058287" y="0"/>
                    </a:lnTo>
                    <a:close/>
                  </a:path>
                </a:pathLst>
              </a:custGeom>
              <a:noFill/>
              <a:ln w="381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26" name="ïšḷïde">
                <a:extLst>
                  <a:ext uri="{FF2B5EF4-FFF2-40B4-BE49-F238E27FC236}">
                    <a16:creationId xmlns:a16="http://schemas.microsoft.com/office/drawing/2014/main" id="{9A563C37-6C52-45BA-8958-D478B4B807D4}"/>
                  </a:ext>
                </a:extLst>
              </p:cNvPr>
              <p:cNvSpPr/>
              <p:nvPr/>
            </p:nvSpPr>
            <p:spPr>
              <a:xfrm>
                <a:off x="2091159" y="4863040"/>
                <a:ext cx="839718" cy="304938"/>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400" dirty="0">
                    <a:solidFill>
                      <a:schemeClr val="bg1"/>
                    </a:solidFill>
                  </a:rPr>
                  <a:t>01</a:t>
                </a:r>
                <a:endParaRPr lang="zh-CN" altLang="en-US" sz="1400" dirty="0">
                  <a:solidFill>
                    <a:schemeClr val="bg1"/>
                  </a:solidFill>
                </a:endParaRPr>
              </a:p>
            </p:txBody>
          </p:sp>
          <p:sp>
            <p:nvSpPr>
              <p:cNvPr id="27" name="íSlíḍê">
                <a:extLst>
                  <a:ext uri="{FF2B5EF4-FFF2-40B4-BE49-F238E27FC236}">
                    <a16:creationId xmlns:a16="http://schemas.microsoft.com/office/drawing/2014/main" id="{0258280A-CB10-4F40-9B87-FC4DDD58E990}"/>
                  </a:ext>
                </a:extLst>
              </p:cNvPr>
              <p:cNvSpPr/>
              <p:nvPr/>
            </p:nvSpPr>
            <p:spPr bwMode="auto">
              <a:xfrm>
                <a:off x="2306266" y="2389675"/>
                <a:ext cx="409502" cy="435610"/>
              </a:xfrm>
              <a:custGeom>
                <a:avLst/>
                <a:gdLst>
                  <a:gd name="connsiteX0" fmla="*/ 283988 w 567904"/>
                  <a:gd name="connsiteY0" fmla="*/ 165481 h 604115"/>
                  <a:gd name="connsiteX1" fmla="*/ 299163 w 567904"/>
                  <a:gd name="connsiteY1" fmla="*/ 180516 h 604115"/>
                  <a:gd name="connsiteX2" fmla="*/ 299163 w 567904"/>
                  <a:gd name="connsiteY2" fmla="*/ 272309 h 604115"/>
                  <a:gd name="connsiteX3" fmla="*/ 307657 w 567904"/>
                  <a:gd name="connsiteY3" fmla="*/ 280788 h 604115"/>
                  <a:gd name="connsiteX4" fmla="*/ 366094 w 567904"/>
                  <a:gd name="connsiteY4" fmla="*/ 280788 h 604115"/>
                  <a:gd name="connsiteX5" fmla="*/ 381156 w 567904"/>
                  <a:gd name="connsiteY5" fmla="*/ 295936 h 604115"/>
                  <a:gd name="connsiteX6" fmla="*/ 366094 w 567904"/>
                  <a:gd name="connsiteY6" fmla="*/ 310971 h 604115"/>
                  <a:gd name="connsiteX7" fmla="*/ 307657 w 567904"/>
                  <a:gd name="connsiteY7" fmla="*/ 310971 h 604115"/>
                  <a:gd name="connsiteX8" fmla="*/ 283988 w 567904"/>
                  <a:gd name="connsiteY8" fmla="*/ 323971 h 604115"/>
                  <a:gd name="connsiteX9" fmla="*/ 255902 w 567904"/>
                  <a:gd name="connsiteY9" fmla="*/ 295936 h 604115"/>
                  <a:gd name="connsiteX10" fmla="*/ 268926 w 567904"/>
                  <a:gd name="connsiteY10" fmla="*/ 272309 h 604115"/>
                  <a:gd name="connsiteX11" fmla="*/ 268926 w 567904"/>
                  <a:gd name="connsiteY11" fmla="*/ 180516 h 604115"/>
                  <a:gd name="connsiteX12" fmla="*/ 283988 w 567904"/>
                  <a:gd name="connsiteY12" fmla="*/ 165481 h 604115"/>
                  <a:gd name="connsiteX13" fmla="*/ 268839 w 567904"/>
                  <a:gd name="connsiteY13" fmla="*/ 63180 h 604115"/>
                  <a:gd name="connsiteX14" fmla="*/ 131858 w 567904"/>
                  <a:gd name="connsiteY14" fmla="*/ 122631 h 604115"/>
                  <a:gd name="connsiteX15" fmla="*/ 178160 w 567904"/>
                  <a:gd name="connsiteY15" fmla="*/ 168971 h 604115"/>
                  <a:gd name="connsiteX16" fmla="*/ 178160 w 567904"/>
                  <a:gd name="connsiteY16" fmla="*/ 190220 h 604115"/>
                  <a:gd name="connsiteX17" fmla="*/ 167518 w 567904"/>
                  <a:gd name="connsiteY17" fmla="*/ 194628 h 604115"/>
                  <a:gd name="connsiteX18" fmla="*/ 156877 w 567904"/>
                  <a:gd name="connsiteY18" fmla="*/ 190220 h 604115"/>
                  <a:gd name="connsiteX19" fmla="*/ 111254 w 567904"/>
                  <a:gd name="connsiteY19" fmla="*/ 144671 h 604115"/>
                  <a:gd name="connsiteX20" fmla="*/ 61216 w 567904"/>
                  <a:gd name="connsiteY20" fmla="*/ 280752 h 604115"/>
                  <a:gd name="connsiteX21" fmla="*/ 119292 w 567904"/>
                  <a:gd name="connsiteY21" fmla="*/ 280752 h 604115"/>
                  <a:gd name="connsiteX22" fmla="*/ 134348 w 567904"/>
                  <a:gd name="connsiteY22" fmla="*/ 295898 h 604115"/>
                  <a:gd name="connsiteX23" fmla="*/ 119292 w 567904"/>
                  <a:gd name="connsiteY23" fmla="*/ 310930 h 604115"/>
                  <a:gd name="connsiteX24" fmla="*/ 62688 w 567904"/>
                  <a:gd name="connsiteY24" fmla="*/ 310930 h 604115"/>
                  <a:gd name="connsiteX25" fmla="*/ 121330 w 567904"/>
                  <a:gd name="connsiteY25" fmla="*/ 436952 h 604115"/>
                  <a:gd name="connsiteX26" fmla="*/ 156877 w 567904"/>
                  <a:gd name="connsiteY26" fmla="*/ 401462 h 604115"/>
                  <a:gd name="connsiteX27" fmla="*/ 178160 w 567904"/>
                  <a:gd name="connsiteY27" fmla="*/ 401462 h 604115"/>
                  <a:gd name="connsiteX28" fmla="*/ 178160 w 567904"/>
                  <a:gd name="connsiteY28" fmla="*/ 422824 h 604115"/>
                  <a:gd name="connsiteX29" fmla="*/ 143405 w 567904"/>
                  <a:gd name="connsiteY29" fmla="*/ 457523 h 604115"/>
                  <a:gd name="connsiteX30" fmla="*/ 268839 w 567904"/>
                  <a:gd name="connsiteY30" fmla="*/ 507027 h 604115"/>
                  <a:gd name="connsiteX31" fmla="*/ 268839 w 567904"/>
                  <a:gd name="connsiteY31" fmla="*/ 460235 h 604115"/>
                  <a:gd name="connsiteX32" fmla="*/ 284009 w 567904"/>
                  <a:gd name="connsiteY32" fmla="*/ 445203 h 604115"/>
                  <a:gd name="connsiteX33" fmla="*/ 299065 w 567904"/>
                  <a:gd name="connsiteY33" fmla="*/ 460235 h 604115"/>
                  <a:gd name="connsiteX34" fmla="*/ 299065 w 567904"/>
                  <a:gd name="connsiteY34" fmla="*/ 507027 h 604115"/>
                  <a:gd name="connsiteX35" fmla="*/ 424612 w 567904"/>
                  <a:gd name="connsiteY35" fmla="*/ 457523 h 604115"/>
                  <a:gd name="connsiteX36" fmla="*/ 389744 w 567904"/>
                  <a:gd name="connsiteY36" fmla="*/ 422824 h 604115"/>
                  <a:gd name="connsiteX37" fmla="*/ 389744 w 567904"/>
                  <a:gd name="connsiteY37" fmla="*/ 401462 h 604115"/>
                  <a:gd name="connsiteX38" fmla="*/ 411141 w 567904"/>
                  <a:gd name="connsiteY38" fmla="*/ 401462 h 604115"/>
                  <a:gd name="connsiteX39" fmla="*/ 446688 w 567904"/>
                  <a:gd name="connsiteY39" fmla="*/ 436952 h 604115"/>
                  <a:gd name="connsiteX40" fmla="*/ 505329 w 567904"/>
                  <a:gd name="connsiteY40" fmla="*/ 310930 h 604115"/>
                  <a:gd name="connsiteX41" fmla="*/ 448612 w 567904"/>
                  <a:gd name="connsiteY41" fmla="*/ 310930 h 604115"/>
                  <a:gd name="connsiteX42" fmla="*/ 433556 w 567904"/>
                  <a:gd name="connsiteY42" fmla="*/ 295898 h 604115"/>
                  <a:gd name="connsiteX43" fmla="*/ 448612 w 567904"/>
                  <a:gd name="connsiteY43" fmla="*/ 280752 h 604115"/>
                  <a:gd name="connsiteX44" fmla="*/ 506801 w 567904"/>
                  <a:gd name="connsiteY44" fmla="*/ 280752 h 604115"/>
                  <a:gd name="connsiteX45" fmla="*/ 456650 w 567904"/>
                  <a:gd name="connsiteY45" fmla="*/ 144671 h 604115"/>
                  <a:gd name="connsiteX46" fmla="*/ 411141 w 567904"/>
                  <a:gd name="connsiteY46" fmla="*/ 190220 h 604115"/>
                  <a:gd name="connsiteX47" fmla="*/ 400386 w 567904"/>
                  <a:gd name="connsiteY47" fmla="*/ 194628 h 604115"/>
                  <a:gd name="connsiteX48" fmla="*/ 389744 w 567904"/>
                  <a:gd name="connsiteY48" fmla="*/ 190220 h 604115"/>
                  <a:gd name="connsiteX49" fmla="*/ 389744 w 567904"/>
                  <a:gd name="connsiteY49" fmla="*/ 168971 h 604115"/>
                  <a:gd name="connsiteX50" fmla="*/ 436046 w 567904"/>
                  <a:gd name="connsiteY50" fmla="*/ 122631 h 604115"/>
                  <a:gd name="connsiteX51" fmla="*/ 299065 w 567904"/>
                  <a:gd name="connsiteY51" fmla="*/ 63180 h 604115"/>
                  <a:gd name="connsiteX52" fmla="*/ 299065 w 567904"/>
                  <a:gd name="connsiteY52" fmla="*/ 131447 h 604115"/>
                  <a:gd name="connsiteX53" fmla="*/ 284009 w 567904"/>
                  <a:gd name="connsiteY53" fmla="*/ 146479 h 604115"/>
                  <a:gd name="connsiteX54" fmla="*/ 268839 w 567904"/>
                  <a:gd name="connsiteY54" fmla="*/ 131447 h 604115"/>
                  <a:gd name="connsiteX55" fmla="*/ 90594 w 567904"/>
                  <a:gd name="connsiteY55" fmla="*/ 0 h 604115"/>
                  <a:gd name="connsiteX56" fmla="*/ 154613 w 567904"/>
                  <a:gd name="connsiteY56" fmla="*/ 26448 h 604115"/>
                  <a:gd name="connsiteX57" fmla="*/ 125179 w 567904"/>
                  <a:gd name="connsiteY57" fmla="*/ 55947 h 604115"/>
                  <a:gd name="connsiteX58" fmla="*/ 284009 w 567904"/>
                  <a:gd name="connsiteY58" fmla="*/ 6329 h 604115"/>
                  <a:gd name="connsiteX59" fmla="*/ 442839 w 567904"/>
                  <a:gd name="connsiteY59" fmla="*/ 55947 h 604115"/>
                  <a:gd name="connsiteX60" fmla="*/ 413291 w 567904"/>
                  <a:gd name="connsiteY60" fmla="*/ 26448 h 604115"/>
                  <a:gd name="connsiteX61" fmla="*/ 541329 w 567904"/>
                  <a:gd name="connsiteY61" fmla="*/ 26448 h 604115"/>
                  <a:gd name="connsiteX62" fmla="*/ 541329 w 567904"/>
                  <a:gd name="connsiteY62" fmla="*/ 154391 h 604115"/>
                  <a:gd name="connsiteX63" fmla="*/ 513480 w 567904"/>
                  <a:gd name="connsiteY63" fmla="*/ 126474 h 604115"/>
                  <a:gd name="connsiteX64" fmla="*/ 563178 w 567904"/>
                  <a:gd name="connsiteY64" fmla="*/ 285160 h 604115"/>
                  <a:gd name="connsiteX65" fmla="*/ 441593 w 567904"/>
                  <a:gd name="connsiteY65" fmla="*/ 515052 h 604115"/>
                  <a:gd name="connsiteX66" fmla="*/ 492197 w 567904"/>
                  <a:gd name="connsiteY66" fmla="*/ 565574 h 604115"/>
                  <a:gd name="connsiteX67" fmla="*/ 492197 w 567904"/>
                  <a:gd name="connsiteY67" fmla="*/ 597560 h 604115"/>
                  <a:gd name="connsiteX68" fmla="*/ 476235 w 567904"/>
                  <a:gd name="connsiteY68" fmla="*/ 604115 h 604115"/>
                  <a:gd name="connsiteX69" fmla="*/ 460159 w 567904"/>
                  <a:gd name="connsiteY69" fmla="*/ 597560 h 604115"/>
                  <a:gd name="connsiteX70" fmla="*/ 400839 w 567904"/>
                  <a:gd name="connsiteY70" fmla="*/ 538222 h 604115"/>
                  <a:gd name="connsiteX71" fmla="*/ 284009 w 567904"/>
                  <a:gd name="connsiteY71" fmla="*/ 563878 h 604115"/>
                  <a:gd name="connsiteX72" fmla="*/ 167065 w 567904"/>
                  <a:gd name="connsiteY72" fmla="*/ 538222 h 604115"/>
                  <a:gd name="connsiteX73" fmla="*/ 107745 w 567904"/>
                  <a:gd name="connsiteY73" fmla="*/ 597560 h 604115"/>
                  <a:gd name="connsiteX74" fmla="*/ 91782 w 567904"/>
                  <a:gd name="connsiteY74" fmla="*/ 604115 h 604115"/>
                  <a:gd name="connsiteX75" fmla="*/ 75707 w 567904"/>
                  <a:gd name="connsiteY75" fmla="*/ 597560 h 604115"/>
                  <a:gd name="connsiteX76" fmla="*/ 75707 w 567904"/>
                  <a:gd name="connsiteY76" fmla="*/ 565574 h 604115"/>
                  <a:gd name="connsiteX77" fmla="*/ 126311 w 567904"/>
                  <a:gd name="connsiteY77" fmla="*/ 515052 h 604115"/>
                  <a:gd name="connsiteX78" fmla="*/ 4726 w 567904"/>
                  <a:gd name="connsiteY78" fmla="*/ 285160 h 604115"/>
                  <a:gd name="connsiteX79" fmla="*/ 54424 w 567904"/>
                  <a:gd name="connsiteY79" fmla="*/ 126474 h 604115"/>
                  <a:gd name="connsiteX80" fmla="*/ 26575 w 567904"/>
                  <a:gd name="connsiteY80" fmla="*/ 154391 h 604115"/>
                  <a:gd name="connsiteX81" fmla="*/ 26575 w 567904"/>
                  <a:gd name="connsiteY81" fmla="*/ 26448 h 604115"/>
                  <a:gd name="connsiteX82" fmla="*/ 90594 w 567904"/>
                  <a:gd name="connsiteY82" fmla="*/ 0 h 6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67904" h="604115">
                    <a:moveTo>
                      <a:pt x="283988" y="165481"/>
                    </a:moveTo>
                    <a:cubicBezTo>
                      <a:pt x="292368" y="165481"/>
                      <a:pt x="299163" y="172264"/>
                      <a:pt x="299163" y="180516"/>
                    </a:cubicBezTo>
                    <a:lnTo>
                      <a:pt x="299163" y="272309"/>
                    </a:lnTo>
                    <a:cubicBezTo>
                      <a:pt x="302561" y="274457"/>
                      <a:pt x="305505" y="277396"/>
                      <a:pt x="307657" y="280788"/>
                    </a:cubicBezTo>
                    <a:lnTo>
                      <a:pt x="366094" y="280788"/>
                    </a:lnTo>
                    <a:cubicBezTo>
                      <a:pt x="374474" y="280788"/>
                      <a:pt x="381156" y="287570"/>
                      <a:pt x="381156" y="295936"/>
                    </a:cubicBezTo>
                    <a:cubicBezTo>
                      <a:pt x="381156" y="304188"/>
                      <a:pt x="374474" y="310971"/>
                      <a:pt x="366094" y="310971"/>
                    </a:cubicBezTo>
                    <a:lnTo>
                      <a:pt x="307657" y="310971"/>
                    </a:lnTo>
                    <a:cubicBezTo>
                      <a:pt x="302674" y="318771"/>
                      <a:pt x="293954" y="323971"/>
                      <a:pt x="283988" y="323971"/>
                    </a:cubicBezTo>
                    <a:cubicBezTo>
                      <a:pt x="268586" y="323971"/>
                      <a:pt x="255902" y="311310"/>
                      <a:pt x="255902" y="295936"/>
                    </a:cubicBezTo>
                    <a:cubicBezTo>
                      <a:pt x="255902" y="285988"/>
                      <a:pt x="261111" y="277283"/>
                      <a:pt x="268926" y="272309"/>
                    </a:cubicBezTo>
                    <a:lnTo>
                      <a:pt x="268926" y="180516"/>
                    </a:lnTo>
                    <a:cubicBezTo>
                      <a:pt x="268926" y="172264"/>
                      <a:pt x="275721" y="165481"/>
                      <a:pt x="283988" y="165481"/>
                    </a:cubicBezTo>
                    <a:close/>
                    <a:moveTo>
                      <a:pt x="268839" y="63180"/>
                    </a:moveTo>
                    <a:cubicBezTo>
                      <a:pt x="216084" y="66684"/>
                      <a:pt x="168311" y="88724"/>
                      <a:pt x="131858" y="122631"/>
                    </a:cubicBezTo>
                    <a:lnTo>
                      <a:pt x="178160" y="168971"/>
                    </a:lnTo>
                    <a:cubicBezTo>
                      <a:pt x="184046" y="174849"/>
                      <a:pt x="184046" y="184343"/>
                      <a:pt x="178160" y="190220"/>
                    </a:cubicBezTo>
                    <a:cubicBezTo>
                      <a:pt x="175216" y="193159"/>
                      <a:pt x="171367" y="194628"/>
                      <a:pt x="167518" y="194628"/>
                    </a:cubicBezTo>
                    <a:cubicBezTo>
                      <a:pt x="163669" y="194628"/>
                      <a:pt x="159820" y="193159"/>
                      <a:pt x="156877" y="190220"/>
                    </a:cubicBezTo>
                    <a:lnTo>
                      <a:pt x="111254" y="144671"/>
                    </a:lnTo>
                    <a:cubicBezTo>
                      <a:pt x="80801" y="181969"/>
                      <a:pt x="62235" y="229213"/>
                      <a:pt x="61216" y="280752"/>
                    </a:cubicBezTo>
                    <a:lnTo>
                      <a:pt x="119292" y="280752"/>
                    </a:lnTo>
                    <a:cubicBezTo>
                      <a:pt x="127669" y="280752"/>
                      <a:pt x="134348" y="287534"/>
                      <a:pt x="134348" y="295898"/>
                    </a:cubicBezTo>
                    <a:cubicBezTo>
                      <a:pt x="134348" y="304148"/>
                      <a:pt x="127669" y="310930"/>
                      <a:pt x="119292" y="310930"/>
                    </a:cubicBezTo>
                    <a:lnTo>
                      <a:pt x="62688" y="310930"/>
                    </a:lnTo>
                    <a:cubicBezTo>
                      <a:pt x="68235" y="359304"/>
                      <a:pt x="89518" y="403045"/>
                      <a:pt x="121330" y="436952"/>
                    </a:cubicBezTo>
                    <a:lnTo>
                      <a:pt x="156877" y="401462"/>
                    </a:lnTo>
                    <a:cubicBezTo>
                      <a:pt x="162763" y="395585"/>
                      <a:pt x="172273" y="395585"/>
                      <a:pt x="178160" y="401462"/>
                    </a:cubicBezTo>
                    <a:cubicBezTo>
                      <a:pt x="184046" y="407340"/>
                      <a:pt x="184046" y="416834"/>
                      <a:pt x="178160" y="422824"/>
                    </a:cubicBezTo>
                    <a:lnTo>
                      <a:pt x="143405" y="457523"/>
                    </a:lnTo>
                    <a:cubicBezTo>
                      <a:pt x="178046" y="485779"/>
                      <a:pt x="221518" y="503862"/>
                      <a:pt x="268839" y="507027"/>
                    </a:cubicBezTo>
                    <a:lnTo>
                      <a:pt x="268839" y="460235"/>
                    </a:lnTo>
                    <a:cubicBezTo>
                      <a:pt x="268839" y="451984"/>
                      <a:pt x="275631" y="445203"/>
                      <a:pt x="284009" y="445203"/>
                    </a:cubicBezTo>
                    <a:cubicBezTo>
                      <a:pt x="292273" y="445203"/>
                      <a:pt x="299065" y="451984"/>
                      <a:pt x="299065" y="460235"/>
                    </a:cubicBezTo>
                    <a:lnTo>
                      <a:pt x="299065" y="507027"/>
                    </a:lnTo>
                    <a:cubicBezTo>
                      <a:pt x="346499" y="503862"/>
                      <a:pt x="389858" y="485779"/>
                      <a:pt x="424612" y="457523"/>
                    </a:cubicBezTo>
                    <a:lnTo>
                      <a:pt x="389744" y="422824"/>
                    </a:lnTo>
                    <a:cubicBezTo>
                      <a:pt x="383858" y="416834"/>
                      <a:pt x="383858" y="407340"/>
                      <a:pt x="389744" y="401462"/>
                    </a:cubicBezTo>
                    <a:cubicBezTo>
                      <a:pt x="395631" y="395585"/>
                      <a:pt x="405254" y="395585"/>
                      <a:pt x="411141" y="401462"/>
                    </a:cubicBezTo>
                    <a:lnTo>
                      <a:pt x="446688" y="436952"/>
                    </a:lnTo>
                    <a:cubicBezTo>
                      <a:pt x="478386" y="403045"/>
                      <a:pt x="499669" y="359304"/>
                      <a:pt x="505329" y="310930"/>
                    </a:cubicBezTo>
                    <a:lnTo>
                      <a:pt x="448612" y="310930"/>
                    </a:lnTo>
                    <a:cubicBezTo>
                      <a:pt x="440348" y="310930"/>
                      <a:pt x="433556" y="304148"/>
                      <a:pt x="433556" y="295898"/>
                    </a:cubicBezTo>
                    <a:cubicBezTo>
                      <a:pt x="433556" y="287534"/>
                      <a:pt x="440348" y="280752"/>
                      <a:pt x="448612" y="280752"/>
                    </a:cubicBezTo>
                    <a:lnTo>
                      <a:pt x="506801" y="280752"/>
                    </a:lnTo>
                    <a:cubicBezTo>
                      <a:pt x="505782" y="229213"/>
                      <a:pt x="487103" y="181969"/>
                      <a:pt x="456650" y="144671"/>
                    </a:cubicBezTo>
                    <a:lnTo>
                      <a:pt x="411141" y="190220"/>
                    </a:lnTo>
                    <a:cubicBezTo>
                      <a:pt x="408197" y="193159"/>
                      <a:pt x="404235" y="194628"/>
                      <a:pt x="400386" y="194628"/>
                    </a:cubicBezTo>
                    <a:cubicBezTo>
                      <a:pt x="396537" y="194628"/>
                      <a:pt x="392688" y="193159"/>
                      <a:pt x="389744" y="190220"/>
                    </a:cubicBezTo>
                    <a:cubicBezTo>
                      <a:pt x="383858" y="184343"/>
                      <a:pt x="383858" y="174849"/>
                      <a:pt x="389744" y="168971"/>
                    </a:cubicBezTo>
                    <a:lnTo>
                      <a:pt x="436046" y="122631"/>
                    </a:lnTo>
                    <a:cubicBezTo>
                      <a:pt x="399707" y="88724"/>
                      <a:pt x="351820" y="66684"/>
                      <a:pt x="299065" y="63180"/>
                    </a:cubicBezTo>
                    <a:lnTo>
                      <a:pt x="299065" y="131447"/>
                    </a:lnTo>
                    <a:cubicBezTo>
                      <a:pt x="299065" y="139698"/>
                      <a:pt x="292273" y="146479"/>
                      <a:pt x="284009" y="146479"/>
                    </a:cubicBezTo>
                    <a:cubicBezTo>
                      <a:pt x="275631" y="146479"/>
                      <a:pt x="268839" y="139698"/>
                      <a:pt x="268839" y="131447"/>
                    </a:cubicBezTo>
                    <a:close/>
                    <a:moveTo>
                      <a:pt x="90594" y="0"/>
                    </a:moveTo>
                    <a:cubicBezTo>
                      <a:pt x="113773" y="0"/>
                      <a:pt x="136952" y="8816"/>
                      <a:pt x="154613" y="26448"/>
                    </a:cubicBezTo>
                    <a:lnTo>
                      <a:pt x="125179" y="55947"/>
                    </a:lnTo>
                    <a:cubicBezTo>
                      <a:pt x="170235" y="24639"/>
                      <a:pt x="225028" y="6329"/>
                      <a:pt x="284009" y="6329"/>
                    </a:cubicBezTo>
                    <a:cubicBezTo>
                      <a:pt x="342990" y="6329"/>
                      <a:pt x="397669" y="24639"/>
                      <a:pt x="442839" y="55947"/>
                    </a:cubicBezTo>
                    <a:lnTo>
                      <a:pt x="413291" y="26448"/>
                    </a:lnTo>
                    <a:cubicBezTo>
                      <a:pt x="448725" y="-8816"/>
                      <a:pt x="506008" y="-8816"/>
                      <a:pt x="541329" y="26448"/>
                    </a:cubicBezTo>
                    <a:cubicBezTo>
                      <a:pt x="576763" y="61824"/>
                      <a:pt x="576763" y="119014"/>
                      <a:pt x="541329" y="154391"/>
                    </a:cubicBezTo>
                    <a:lnTo>
                      <a:pt x="513480" y="126474"/>
                    </a:lnTo>
                    <a:cubicBezTo>
                      <a:pt x="544839" y="171571"/>
                      <a:pt x="563178" y="226275"/>
                      <a:pt x="563178" y="285160"/>
                    </a:cubicBezTo>
                    <a:cubicBezTo>
                      <a:pt x="563178" y="380440"/>
                      <a:pt x="514952" y="464756"/>
                      <a:pt x="441593" y="515052"/>
                    </a:cubicBezTo>
                    <a:lnTo>
                      <a:pt x="492197" y="565574"/>
                    </a:lnTo>
                    <a:cubicBezTo>
                      <a:pt x="501027" y="574390"/>
                      <a:pt x="501027" y="588744"/>
                      <a:pt x="492197" y="597560"/>
                    </a:cubicBezTo>
                    <a:cubicBezTo>
                      <a:pt x="487782" y="601968"/>
                      <a:pt x="482008" y="604115"/>
                      <a:pt x="476235" y="604115"/>
                    </a:cubicBezTo>
                    <a:cubicBezTo>
                      <a:pt x="470348" y="604115"/>
                      <a:pt x="464574" y="601968"/>
                      <a:pt x="460159" y="597560"/>
                    </a:cubicBezTo>
                    <a:lnTo>
                      <a:pt x="400839" y="538222"/>
                    </a:lnTo>
                    <a:cubicBezTo>
                      <a:pt x="365292" y="554723"/>
                      <a:pt x="325669" y="563878"/>
                      <a:pt x="284009" y="563878"/>
                    </a:cubicBezTo>
                    <a:cubicBezTo>
                      <a:pt x="242235" y="563878"/>
                      <a:pt x="202726" y="554723"/>
                      <a:pt x="167065" y="538222"/>
                    </a:cubicBezTo>
                    <a:lnTo>
                      <a:pt x="107745" y="597560"/>
                    </a:lnTo>
                    <a:cubicBezTo>
                      <a:pt x="103330" y="601968"/>
                      <a:pt x="97556" y="604115"/>
                      <a:pt x="91782" y="604115"/>
                    </a:cubicBezTo>
                    <a:cubicBezTo>
                      <a:pt x="85896" y="604115"/>
                      <a:pt x="80122" y="601968"/>
                      <a:pt x="75707" y="597560"/>
                    </a:cubicBezTo>
                    <a:cubicBezTo>
                      <a:pt x="66877" y="588744"/>
                      <a:pt x="66877" y="574390"/>
                      <a:pt x="75707" y="565574"/>
                    </a:cubicBezTo>
                    <a:lnTo>
                      <a:pt x="126311" y="515052"/>
                    </a:lnTo>
                    <a:cubicBezTo>
                      <a:pt x="52952" y="464756"/>
                      <a:pt x="4726" y="380440"/>
                      <a:pt x="4726" y="285160"/>
                    </a:cubicBezTo>
                    <a:cubicBezTo>
                      <a:pt x="4726" y="226275"/>
                      <a:pt x="23065" y="171571"/>
                      <a:pt x="54424" y="126474"/>
                    </a:cubicBezTo>
                    <a:lnTo>
                      <a:pt x="26575" y="154391"/>
                    </a:lnTo>
                    <a:cubicBezTo>
                      <a:pt x="-8859" y="119014"/>
                      <a:pt x="-8859" y="61824"/>
                      <a:pt x="26575" y="26448"/>
                    </a:cubicBezTo>
                    <a:cubicBezTo>
                      <a:pt x="44235" y="8816"/>
                      <a:pt x="67415" y="0"/>
                      <a:pt x="90594" y="0"/>
                    </a:cubicBezTo>
                    <a:close/>
                  </a:path>
                </a:pathLst>
              </a:custGeom>
              <a:solidFill>
                <a:schemeClr val="bg1">
                  <a:lumMod val="50000"/>
                </a:schemeClr>
              </a:solidFill>
              <a:ln>
                <a:noFill/>
              </a:ln>
            </p:spPr>
            <p:txBody>
              <a:bodyPr/>
              <a:lstStyle/>
              <a:p>
                <a:endParaRPr lang="zh-CN" altLang="en-US"/>
              </a:p>
            </p:txBody>
          </p:sp>
          <p:sp>
            <p:nvSpPr>
              <p:cNvPr id="28" name="iŝlïdê">
                <a:extLst>
                  <a:ext uri="{FF2B5EF4-FFF2-40B4-BE49-F238E27FC236}">
                    <a16:creationId xmlns:a16="http://schemas.microsoft.com/office/drawing/2014/main" id="{88C5A41B-376C-4379-8D08-7B5CE4D28D19}"/>
                  </a:ext>
                </a:extLst>
              </p:cNvPr>
              <p:cNvSpPr txBox="1"/>
              <p:nvPr/>
            </p:nvSpPr>
            <p:spPr bwMode="auto">
              <a:xfrm>
                <a:off x="1429055" y="3456432"/>
                <a:ext cx="2163925"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err="1"/>
                  <a:t>RoleManager</a:t>
                </a:r>
                <a:endParaRPr lang="en-US" altLang="zh-CN" b="1" dirty="0"/>
              </a:p>
            </p:txBody>
          </p:sp>
          <p:sp>
            <p:nvSpPr>
              <p:cNvPr id="29" name="iṥḷîḓe">
                <a:extLst>
                  <a:ext uri="{FF2B5EF4-FFF2-40B4-BE49-F238E27FC236}">
                    <a16:creationId xmlns:a16="http://schemas.microsoft.com/office/drawing/2014/main" id="{0B9884C5-432F-43CE-B2B1-5A91C5526888}"/>
                  </a:ext>
                </a:extLst>
              </p:cNvPr>
              <p:cNvSpPr/>
              <p:nvPr/>
            </p:nvSpPr>
            <p:spPr bwMode="auto">
              <a:xfrm>
                <a:off x="1429055" y="3898237"/>
                <a:ext cx="2163925"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zh-CN" altLang="en-US" sz="1100" dirty="0"/>
                  <a:t>管理主角持有的卡牌，维护一个主角目前的牌库</a:t>
                </a:r>
                <a:endParaRPr lang="en-US" altLang="zh-CN" sz="1100" dirty="0"/>
              </a:p>
            </p:txBody>
          </p:sp>
        </p:grpSp>
        <p:grpSp>
          <p:nvGrpSpPr>
            <p:cNvPr id="7" name="ïŝḻïdê">
              <a:extLst>
                <a:ext uri="{FF2B5EF4-FFF2-40B4-BE49-F238E27FC236}">
                  <a16:creationId xmlns:a16="http://schemas.microsoft.com/office/drawing/2014/main" id="{983EB1ED-ECCE-4ED3-A0EC-67793EE5D4C3}"/>
                </a:ext>
              </a:extLst>
            </p:cNvPr>
            <p:cNvGrpSpPr/>
            <p:nvPr/>
          </p:nvGrpSpPr>
          <p:grpSpPr>
            <a:xfrm>
              <a:off x="3406589" y="2123554"/>
              <a:ext cx="2519082" cy="3320437"/>
              <a:chOff x="1342714" y="2389675"/>
              <a:chExt cx="2317186" cy="3054316"/>
            </a:xfrm>
          </p:grpSpPr>
          <p:sp>
            <p:nvSpPr>
              <p:cNvPr id="20" name="ïSlíḍê">
                <a:extLst>
                  <a:ext uri="{FF2B5EF4-FFF2-40B4-BE49-F238E27FC236}">
                    <a16:creationId xmlns:a16="http://schemas.microsoft.com/office/drawing/2014/main" id="{92B717A4-435D-4432-8411-9151E6B999C2}"/>
                  </a:ext>
                </a:extLst>
              </p:cNvPr>
              <p:cNvSpPr/>
              <p:nvPr/>
            </p:nvSpPr>
            <p:spPr>
              <a:xfrm rot="16200000">
                <a:off x="1274922" y="3125933"/>
                <a:ext cx="2472192" cy="2163924"/>
              </a:xfrm>
              <a:custGeom>
                <a:avLst/>
                <a:gdLst>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6753 w 8033654"/>
                  <a:gd name="connsiteY5" fmla="*/ 467828 h 7031915"/>
                  <a:gd name="connsiteX6" fmla="*/ 6540064 w 8033654"/>
                  <a:gd name="connsiteY6" fmla="*/ 434562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363588 w 8033654"/>
                  <a:gd name="connsiteY37" fmla="*/ 6946684 h 7031915"/>
                  <a:gd name="connsiteX38" fmla="*/ 2418335 w 8033654"/>
                  <a:gd name="connsiteY38" fmla="*/ 6906767 h 7031915"/>
                  <a:gd name="connsiteX39" fmla="*/ 2418334 w 8033654"/>
                  <a:gd name="connsiteY39" fmla="*/ 6906767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418334 w 8033654"/>
                  <a:gd name="connsiteY42" fmla="*/ 6906767 h 7031915"/>
                  <a:gd name="connsiteX43" fmla="*/ 2176957 w 8033654"/>
                  <a:gd name="connsiteY43" fmla="*/ 7019956 h 7031915"/>
                  <a:gd name="connsiteX44" fmla="*/ 2058326 w 8033654"/>
                  <a:gd name="connsiteY44" fmla="*/ 7031915 h 7031915"/>
                  <a:gd name="connsiteX45" fmla="*/ 2058286 w 8033654"/>
                  <a:gd name="connsiteY45" fmla="*/ 7031915 h 7031915"/>
                  <a:gd name="connsiteX46" fmla="*/ 1939655 w 8033654"/>
                  <a:gd name="connsiteY46" fmla="*/ 7019956 h 7031915"/>
                  <a:gd name="connsiteX47" fmla="*/ 1642007 w 8033654"/>
                  <a:gd name="connsiteY47" fmla="*/ 6859480 h 7031915"/>
                  <a:gd name="connsiteX48" fmla="*/ 1570173 w 8033654"/>
                  <a:gd name="connsiteY48" fmla="*/ 6772417 h 7031915"/>
                  <a:gd name="connsiteX49" fmla="*/ 1508795 w 8033654"/>
                  <a:gd name="connsiteY49" fmla="*/ 6649661 h 7031915"/>
                  <a:gd name="connsiteX50" fmla="*/ 1508794 w 8033654"/>
                  <a:gd name="connsiteY50" fmla="*/ 6649657 h 7031915"/>
                  <a:gd name="connsiteX51" fmla="*/ 115723 w 8033654"/>
                  <a:gd name="connsiteY51" fmla="*/ 3863519 h 7031915"/>
                  <a:gd name="connsiteX52" fmla="*/ 115722 w 8033654"/>
                  <a:gd name="connsiteY52" fmla="*/ 3863518 h 7031915"/>
                  <a:gd name="connsiteX53" fmla="*/ 29470 w 8033654"/>
                  <a:gd name="connsiteY53" fmla="*/ 3691014 h 7031915"/>
                  <a:gd name="connsiteX54" fmla="*/ 11962 w 8033654"/>
                  <a:gd name="connsiteY54" fmla="*/ 3634608 h 7031915"/>
                  <a:gd name="connsiteX55" fmla="*/ 0 w 8033654"/>
                  <a:gd name="connsiteY55" fmla="*/ 3515957 h 7031915"/>
                  <a:gd name="connsiteX56" fmla="*/ 11962 w 8033654"/>
                  <a:gd name="connsiteY56" fmla="*/ 3397306 h 7031915"/>
                  <a:gd name="connsiteX57" fmla="*/ 29470 w 8033654"/>
                  <a:gd name="connsiteY57" fmla="*/ 3340901 h 7031915"/>
                  <a:gd name="connsiteX58" fmla="*/ 115722 w 8033654"/>
                  <a:gd name="connsiteY58" fmla="*/ 3168396 h 7031915"/>
                  <a:gd name="connsiteX59" fmla="*/ 115723 w 8033654"/>
                  <a:gd name="connsiteY59" fmla="*/ 3168396 h 7031915"/>
                  <a:gd name="connsiteX60" fmla="*/ 1508796 w 8033654"/>
                  <a:gd name="connsiteY60" fmla="*/ 382255 h 7031915"/>
                  <a:gd name="connsiteX61" fmla="*/ 1570174 w 8033654"/>
                  <a:gd name="connsiteY61" fmla="*/ 259499 h 7031915"/>
                  <a:gd name="connsiteX62" fmla="*/ 1642008 w 8033654"/>
                  <a:gd name="connsiteY62" fmla="*/ 172435 h 7031915"/>
                  <a:gd name="connsiteX63" fmla="*/ 1939656 w 8033654"/>
                  <a:gd name="connsiteY63" fmla="*/ 11959 h 7031915"/>
                  <a:gd name="connsiteX64" fmla="*/ 2058287 w 8033654"/>
                  <a:gd name="connsiteY64"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176957 w 8033654"/>
                  <a:gd name="connsiteY42" fmla="*/ 7019956 h 7031915"/>
                  <a:gd name="connsiteX43" fmla="*/ 2058326 w 8033654"/>
                  <a:gd name="connsiteY43" fmla="*/ 7031915 h 7031915"/>
                  <a:gd name="connsiteX44" fmla="*/ 2058286 w 8033654"/>
                  <a:gd name="connsiteY44" fmla="*/ 7031915 h 7031915"/>
                  <a:gd name="connsiteX45" fmla="*/ 1939655 w 8033654"/>
                  <a:gd name="connsiteY45" fmla="*/ 7019956 h 7031915"/>
                  <a:gd name="connsiteX46" fmla="*/ 1642007 w 8033654"/>
                  <a:gd name="connsiteY46" fmla="*/ 6859480 h 7031915"/>
                  <a:gd name="connsiteX47" fmla="*/ 1570173 w 8033654"/>
                  <a:gd name="connsiteY47" fmla="*/ 6772417 h 7031915"/>
                  <a:gd name="connsiteX48" fmla="*/ 1508795 w 8033654"/>
                  <a:gd name="connsiteY48" fmla="*/ 6649661 h 7031915"/>
                  <a:gd name="connsiteX49" fmla="*/ 1508794 w 8033654"/>
                  <a:gd name="connsiteY49" fmla="*/ 6649657 h 7031915"/>
                  <a:gd name="connsiteX50" fmla="*/ 115723 w 8033654"/>
                  <a:gd name="connsiteY50" fmla="*/ 3863519 h 7031915"/>
                  <a:gd name="connsiteX51" fmla="*/ 115722 w 8033654"/>
                  <a:gd name="connsiteY51" fmla="*/ 3863518 h 7031915"/>
                  <a:gd name="connsiteX52" fmla="*/ 29470 w 8033654"/>
                  <a:gd name="connsiteY52" fmla="*/ 3691014 h 7031915"/>
                  <a:gd name="connsiteX53" fmla="*/ 11962 w 8033654"/>
                  <a:gd name="connsiteY53" fmla="*/ 3634608 h 7031915"/>
                  <a:gd name="connsiteX54" fmla="*/ 0 w 8033654"/>
                  <a:gd name="connsiteY54" fmla="*/ 3515957 h 7031915"/>
                  <a:gd name="connsiteX55" fmla="*/ 11962 w 8033654"/>
                  <a:gd name="connsiteY55" fmla="*/ 3397306 h 7031915"/>
                  <a:gd name="connsiteX56" fmla="*/ 29470 w 8033654"/>
                  <a:gd name="connsiteY56" fmla="*/ 3340901 h 7031915"/>
                  <a:gd name="connsiteX57" fmla="*/ 115722 w 8033654"/>
                  <a:gd name="connsiteY57" fmla="*/ 3168396 h 7031915"/>
                  <a:gd name="connsiteX58" fmla="*/ 115723 w 8033654"/>
                  <a:gd name="connsiteY58" fmla="*/ 3168396 h 7031915"/>
                  <a:gd name="connsiteX59" fmla="*/ 1508796 w 8033654"/>
                  <a:gd name="connsiteY59" fmla="*/ 382255 h 7031915"/>
                  <a:gd name="connsiteX60" fmla="*/ 1570174 w 8033654"/>
                  <a:gd name="connsiteY60" fmla="*/ 259499 h 7031915"/>
                  <a:gd name="connsiteX61" fmla="*/ 1642008 w 8033654"/>
                  <a:gd name="connsiteY61" fmla="*/ 172435 h 7031915"/>
                  <a:gd name="connsiteX62" fmla="*/ 1939656 w 8033654"/>
                  <a:gd name="connsiteY62" fmla="*/ 11959 h 7031915"/>
                  <a:gd name="connsiteX63" fmla="*/ 2058287 w 8033654"/>
                  <a:gd name="connsiteY63"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62" fmla="*/ 2058287 w 8033654"/>
                  <a:gd name="connsiteY62"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176957 w 8033654"/>
                  <a:gd name="connsiteY40" fmla="*/ 7019956 h 7031915"/>
                  <a:gd name="connsiteX41" fmla="*/ 2058326 w 8033654"/>
                  <a:gd name="connsiteY41" fmla="*/ 7031915 h 7031915"/>
                  <a:gd name="connsiteX42" fmla="*/ 2058286 w 8033654"/>
                  <a:gd name="connsiteY42" fmla="*/ 7031915 h 7031915"/>
                  <a:gd name="connsiteX43" fmla="*/ 1939655 w 8033654"/>
                  <a:gd name="connsiteY43" fmla="*/ 7019956 h 7031915"/>
                  <a:gd name="connsiteX44" fmla="*/ 1642007 w 8033654"/>
                  <a:gd name="connsiteY44" fmla="*/ 6859480 h 7031915"/>
                  <a:gd name="connsiteX45" fmla="*/ 1570173 w 8033654"/>
                  <a:gd name="connsiteY45" fmla="*/ 6772417 h 7031915"/>
                  <a:gd name="connsiteX46" fmla="*/ 1508795 w 8033654"/>
                  <a:gd name="connsiteY46" fmla="*/ 6649661 h 7031915"/>
                  <a:gd name="connsiteX47" fmla="*/ 1508794 w 8033654"/>
                  <a:gd name="connsiteY47" fmla="*/ 6649657 h 7031915"/>
                  <a:gd name="connsiteX48" fmla="*/ 115723 w 8033654"/>
                  <a:gd name="connsiteY48" fmla="*/ 3863519 h 7031915"/>
                  <a:gd name="connsiteX49" fmla="*/ 115722 w 8033654"/>
                  <a:gd name="connsiteY49" fmla="*/ 3863518 h 7031915"/>
                  <a:gd name="connsiteX50" fmla="*/ 29470 w 8033654"/>
                  <a:gd name="connsiteY50" fmla="*/ 3691014 h 7031915"/>
                  <a:gd name="connsiteX51" fmla="*/ 11962 w 8033654"/>
                  <a:gd name="connsiteY51" fmla="*/ 3634608 h 7031915"/>
                  <a:gd name="connsiteX52" fmla="*/ 0 w 8033654"/>
                  <a:gd name="connsiteY52" fmla="*/ 3515957 h 7031915"/>
                  <a:gd name="connsiteX53" fmla="*/ 11962 w 8033654"/>
                  <a:gd name="connsiteY53" fmla="*/ 3397306 h 7031915"/>
                  <a:gd name="connsiteX54" fmla="*/ 29470 w 8033654"/>
                  <a:gd name="connsiteY54" fmla="*/ 3340901 h 7031915"/>
                  <a:gd name="connsiteX55" fmla="*/ 115722 w 8033654"/>
                  <a:gd name="connsiteY55" fmla="*/ 3168396 h 7031915"/>
                  <a:gd name="connsiteX56" fmla="*/ 115723 w 8033654"/>
                  <a:gd name="connsiteY56" fmla="*/ 3168396 h 7031915"/>
                  <a:gd name="connsiteX57" fmla="*/ 1508796 w 8033654"/>
                  <a:gd name="connsiteY57" fmla="*/ 382255 h 7031915"/>
                  <a:gd name="connsiteX58" fmla="*/ 1570174 w 8033654"/>
                  <a:gd name="connsiteY58" fmla="*/ 259499 h 7031915"/>
                  <a:gd name="connsiteX59" fmla="*/ 1642008 w 8033654"/>
                  <a:gd name="connsiteY59" fmla="*/ 172435 h 7031915"/>
                  <a:gd name="connsiteX60" fmla="*/ 1939656 w 8033654"/>
                  <a:gd name="connsiteY60" fmla="*/ 11959 h 7031915"/>
                  <a:gd name="connsiteX61" fmla="*/ 2058287 w 8033654"/>
                  <a:gd name="connsiteY61"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0064 w 8033654"/>
                  <a:gd name="connsiteY6" fmla="*/ 434562 h 7031915"/>
                  <a:gd name="connsiteX7" fmla="*/ 6529086 w 8033654"/>
                  <a:gd name="connsiteY7" fmla="*/ 402424 h 7031915"/>
                  <a:gd name="connsiteX8" fmla="*/ 6482461 w 8033654"/>
                  <a:gd name="connsiteY8" fmla="*/ 295697 h 7031915"/>
                  <a:gd name="connsiteX9" fmla="*/ 6520430 w 8033654"/>
                  <a:gd name="connsiteY9" fmla="*/ 377086 h 7031915"/>
                  <a:gd name="connsiteX10" fmla="*/ 6515577 w 8033654"/>
                  <a:gd name="connsiteY10" fmla="*/ 362878 h 7031915"/>
                  <a:gd name="connsiteX11" fmla="*/ 6482461 w 8033654"/>
                  <a:gd name="connsiteY11" fmla="*/ 295697 h 7031915"/>
                  <a:gd name="connsiteX12" fmla="*/ 2058287 w 8033654"/>
                  <a:gd name="connsiteY12" fmla="*/ 0 h 7031915"/>
                  <a:gd name="connsiteX13" fmla="*/ 2058326 w 8033654"/>
                  <a:gd name="connsiteY13" fmla="*/ 0 h 7031915"/>
                  <a:gd name="connsiteX14" fmla="*/ 5971699 w 8033654"/>
                  <a:gd name="connsiteY14" fmla="*/ 0 h 7031915"/>
                  <a:gd name="connsiteX15" fmla="*/ 5971700 w 8033654"/>
                  <a:gd name="connsiteY15" fmla="*/ 0 h 7031915"/>
                  <a:gd name="connsiteX16" fmla="*/ 5971740 w 8033654"/>
                  <a:gd name="connsiteY16" fmla="*/ 0 h 7031915"/>
                  <a:gd name="connsiteX17" fmla="*/ 6090371 w 8033654"/>
                  <a:gd name="connsiteY17" fmla="*/ 11959 h 7031915"/>
                  <a:gd name="connsiteX18" fmla="*/ 6357004 w 8033654"/>
                  <a:gd name="connsiteY18" fmla="*/ 143562 h 7031915"/>
                  <a:gd name="connsiteX19" fmla="*/ 6421756 w 8033654"/>
                  <a:gd name="connsiteY19" fmla="*/ 209878 h 7031915"/>
                  <a:gd name="connsiteX20" fmla="*/ 6426018 w 8033654"/>
                  <a:gd name="connsiteY20" fmla="*/ 214243 h 7031915"/>
                  <a:gd name="connsiteX21" fmla="*/ 6463356 w 8033654"/>
                  <a:gd name="connsiteY21" fmla="*/ 268125 h 7031915"/>
                  <a:gd name="connsiteX22" fmla="*/ 6480094 w 8033654"/>
                  <a:gd name="connsiteY22" fmla="*/ 292278 h 7031915"/>
                  <a:gd name="connsiteX23" fmla="*/ 6490605 w 8033654"/>
                  <a:gd name="connsiteY23" fmla="*/ 298322 h 7031915"/>
                  <a:gd name="connsiteX24" fmla="*/ 7949332 w 8033654"/>
                  <a:gd name="connsiteY24" fmla="*/ 3216682 h 7031915"/>
                  <a:gd name="connsiteX25" fmla="*/ 7992299 w 8033654"/>
                  <a:gd name="connsiteY25" fmla="*/ 3302616 h 7031915"/>
                  <a:gd name="connsiteX26" fmla="*/ 8021693 w 8033654"/>
                  <a:gd name="connsiteY26" fmla="*/ 3397306 h 7031915"/>
                  <a:gd name="connsiteX27" fmla="*/ 8033654 w 8033654"/>
                  <a:gd name="connsiteY27" fmla="*/ 3515957 h 7031915"/>
                  <a:gd name="connsiteX28" fmla="*/ 8021693 w 8033654"/>
                  <a:gd name="connsiteY28" fmla="*/ 3634608 h 7031915"/>
                  <a:gd name="connsiteX29" fmla="*/ 7992299 w 8033654"/>
                  <a:gd name="connsiteY29" fmla="*/ 3729298 h 7031915"/>
                  <a:gd name="connsiteX30" fmla="*/ 7949332 w 8033654"/>
                  <a:gd name="connsiteY30" fmla="*/ 3815232 h 7031915"/>
                  <a:gd name="connsiteX31" fmla="*/ 6535055 w 8033654"/>
                  <a:gd name="connsiteY31" fmla="*/ 6638796 h 7031915"/>
                  <a:gd name="connsiteX32" fmla="*/ 6524461 w 8033654"/>
                  <a:gd name="connsiteY32" fmla="*/ 6646190 h 7031915"/>
                  <a:gd name="connsiteX33" fmla="*/ 6482456 w 8033654"/>
                  <a:gd name="connsiteY33" fmla="*/ 6736229 h 7031915"/>
                  <a:gd name="connsiteX34" fmla="*/ 6090371 w 8033654"/>
                  <a:gd name="connsiteY34" fmla="*/ 7019956 h 7031915"/>
                  <a:gd name="connsiteX35" fmla="*/ 5971740 w 8033654"/>
                  <a:gd name="connsiteY35" fmla="*/ 7031915 h 7031915"/>
                  <a:gd name="connsiteX36" fmla="*/ 5971700 w 8033654"/>
                  <a:gd name="connsiteY36" fmla="*/ 7031915 h 7031915"/>
                  <a:gd name="connsiteX37" fmla="*/ 2058326 w 8033654"/>
                  <a:gd name="connsiteY37" fmla="*/ 7031915 h 7031915"/>
                  <a:gd name="connsiteX38" fmla="*/ 2176958 w 8033654"/>
                  <a:gd name="connsiteY38" fmla="*/ 7019956 h 7031915"/>
                  <a:gd name="connsiteX39" fmla="*/ 2176957 w 8033654"/>
                  <a:gd name="connsiteY39" fmla="*/ 7019956 h 7031915"/>
                  <a:gd name="connsiteX40" fmla="*/ 2058326 w 8033654"/>
                  <a:gd name="connsiteY40" fmla="*/ 7031915 h 7031915"/>
                  <a:gd name="connsiteX41" fmla="*/ 2058286 w 8033654"/>
                  <a:gd name="connsiteY41" fmla="*/ 7031915 h 7031915"/>
                  <a:gd name="connsiteX42" fmla="*/ 1939655 w 8033654"/>
                  <a:gd name="connsiteY42" fmla="*/ 7019956 h 7031915"/>
                  <a:gd name="connsiteX43" fmla="*/ 1642007 w 8033654"/>
                  <a:gd name="connsiteY43" fmla="*/ 6859480 h 7031915"/>
                  <a:gd name="connsiteX44" fmla="*/ 1570173 w 8033654"/>
                  <a:gd name="connsiteY44" fmla="*/ 6772417 h 7031915"/>
                  <a:gd name="connsiteX45" fmla="*/ 1508795 w 8033654"/>
                  <a:gd name="connsiteY45" fmla="*/ 6649661 h 7031915"/>
                  <a:gd name="connsiteX46" fmla="*/ 1508794 w 8033654"/>
                  <a:gd name="connsiteY46" fmla="*/ 6649657 h 7031915"/>
                  <a:gd name="connsiteX47" fmla="*/ 115723 w 8033654"/>
                  <a:gd name="connsiteY47" fmla="*/ 3863519 h 7031915"/>
                  <a:gd name="connsiteX48" fmla="*/ 115722 w 8033654"/>
                  <a:gd name="connsiteY48" fmla="*/ 3863518 h 7031915"/>
                  <a:gd name="connsiteX49" fmla="*/ 29470 w 8033654"/>
                  <a:gd name="connsiteY49" fmla="*/ 3691014 h 7031915"/>
                  <a:gd name="connsiteX50" fmla="*/ 11962 w 8033654"/>
                  <a:gd name="connsiteY50" fmla="*/ 3634608 h 7031915"/>
                  <a:gd name="connsiteX51" fmla="*/ 0 w 8033654"/>
                  <a:gd name="connsiteY51" fmla="*/ 3515957 h 7031915"/>
                  <a:gd name="connsiteX52" fmla="*/ 11962 w 8033654"/>
                  <a:gd name="connsiteY52" fmla="*/ 3397306 h 7031915"/>
                  <a:gd name="connsiteX53" fmla="*/ 29470 w 8033654"/>
                  <a:gd name="connsiteY53" fmla="*/ 3340901 h 7031915"/>
                  <a:gd name="connsiteX54" fmla="*/ 115722 w 8033654"/>
                  <a:gd name="connsiteY54" fmla="*/ 3168396 h 7031915"/>
                  <a:gd name="connsiteX55" fmla="*/ 115723 w 8033654"/>
                  <a:gd name="connsiteY55" fmla="*/ 3168396 h 7031915"/>
                  <a:gd name="connsiteX56" fmla="*/ 1508796 w 8033654"/>
                  <a:gd name="connsiteY56" fmla="*/ 382255 h 7031915"/>
                  <a:gd name="connsiteX57" fmla="*/ 1570174 w 8033654"/>
                  <a:gd name="connsiteY57" fmla="*/ 259499 h 7031915"/>
                  <a:gd name="connsiteX58" fmla="*/ 1642008 w 8033654"/>
                  <a:gd name="connsiteY58" fmla="*/ 172435 h 7031915"/>
                  <a:gd name="connsiteX59" fmla="*/ 1939656 w 8033654"/>
                  <a:gd name="connsiteY59" fmla="*/ 11959 h 7031915"/>
                  <a:gd name="connsiteX60" fmla="*/ 2058287 w 8033654"/>
                  <a:gd name="connsiteY60" fmla="*/ 0 h 7031915"/>
                  <a:gd name="connsiteX0" fmla="*/ 6555247 w 8033654"/>
                  <a:gd name="connsiteY0" fmla="*/ 510071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0064 w 8033654"/>
                  <a:gd name="connsiteY5" fmla="*/ 434562 h 7031915"/>
                  <a:gd name="connsiteX6" fmla="*/ 6529086 w 8033654"/>
                  <a:gd name="connsiteY6" fmla="*/ 402424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6482461 w 8033654"/>
                  <a:gd name="connsiteY10" fmla="*/ 295697 h 7031915"/>
                  <a:gd name="connsiteX11" fmla="*/ 2058287 w 8033654"/>
                  <a:gd name="connsiteY11" fmla="*/ 0 h 7031915"/>
                  <a:gd name="connsiteX12" fmla="*/ 2058326 w 8033654"/>
                  <a:gd name="connsiteY12" fmla="*/ 0 h 7031915"/>
                  <a:gd name="connsiteX13" fmla="*/ 5971699 w 8033654"/>
                  <a:gd name="connsiteY13" fmla="*/ 0 h 7031915"/>
                  <a:gd name="connsiteX14" fmla="*/ 5971700 w 8033654"/>
                  <a:gd name="connsiteY14" fmla="*/ 0 h 7031915"/>
                  <a:gd name="connsiteX15" fmla="*/ 5971740 w 8033654"/>
                  <a:gd name="connsiteY15" fmla="*/ 0 h 7031915"/>
                  <a:gd name="connsiteX16" fmla="*/ 6090371 w 8033654"/>
                  <a:gd name="connsiteY16" fmla="*/ 11959 h 7031915"/>
                  <a:gd name="connsiteX17" fmla="*/ 6357004 w 8033654"/>
                  <a:gd name="connsiteY17" fmla="*/ 143562 h 7031915"/>
                  <a:gd name="connsiteX18" fmla="*/ 6421756 w 8033654"/>
                  <a:gd name="connsiteY18" fmla="*/ 209878 h 7031915"/>
                  <a:gd name="connsiteX19" fmla="*/ 6426018 w 8033654"/>
                  <a:gd name="connsiteY19" fmla="*/ 214243 h 7031915"/>
                  <a:gd name="connsiteX20" fmla="*/ 6463356 w 8033654"/>
                  <a:gd name="connsiteY20" fmla="*/ 268125 h 7031915"/>
                  <a:gd name="connsiteX21" fmla="*/ 6480094 w 8033654"/>
                  <a:gd name="connsiteY21" fmla="*/ 292278 h 7031915"/>
                  <a:gd name="connsiteX22" fmla="*/ 6490605 w 8033654"/>
                  <a:gd name="connsiteY22" fmla="*/ 298322 h 7031915"/>
                  <a:gd name="connsiteX23" fmla="*/ 7949332 w 8033654"/>
                  <a:gd name="connsiteY23" fmla="*/ 3216682 h 7031915"/>
                  <a:gd name="connsiteX24" fmla="*/ 7992299 w 8033654"/>
                  <a:gd name="connsiteY24" fmla="*/ 3302616 h 7031915"/>
                  <a:gd name="connsiteX25" fmla="*/ 8021693 w 8033654"/>
                  <a:gd name="connsiteY25" fmla="*/ 3397306 h 7031915"/>
                  <a:gd name="connsiteX26" fmla="*/ 8033654 w 8033654"/>
                  <a:gd name="connsiteY26" fmla="*/ 3515957 h 7031915"/>
                  <a:gd name="connsiteX27" fmla="*/ 8021693 w 8033654"/>
                  <a:gd name="connsiteY27" fmla="*/ 3634608 h 7031915"/>
                  <a:gd name="connsiteX28" fmla="*/ 7992299 w 8033654"/>
                  <a:gd name="connsiteY28" fmla="*/ 3729298 h 7031915"/>
                  <a:gd name="connsiteX29" fmla="*/ 7949332 w 8033654"/>
                  <a:gd name="connsiteY29" fmla="*/ 3815232 h 7031915"/>
                  <a:gd name="connsiteX30" fmla="*/ 6535055 w 8033654"/>
                  <a:gd name="connsiteY30" fmla="*/ 6638796 h 7031915"/>
                  <a:gd name="connsiteX31" fmla="*/ 6524461 w 8033654"/>
                  <a:gd name="connsiteY31" fmla="*/ 6646190 h 7031915"/>
                  <a:gd name="connsiteX32" fmla="*/ 6482456 w 8033654"/>
                  <a:gd name="connsiteY32" fmla="*/ 6736229 h 7031915"/>
                  <a:gd name="connsiteX33" fmla="*/ 6090371 w 8033654"/>
                  <a:gd name="connsiteY33" fmla="*/ 7019956 h 7031915"/>
                  <a:gd name="connsiteX34" fmla="*/ 5971740 w 8033654"/>
                  <a:gd name="connsiteY34" fmla="*/ 7031915 h 7031915"/>
                  <a:gd name="connsiteX35" fmla="*/ 5971700 w 8033654"/>
                  <a:gd name="connsiteY35" fmla="*/ 7031915 h 7031915"/>
                  <a:gd name="connsiteX36" fmla="*/ 2058326 w 8033654"/>
                  <a:gd name="connsiteY36" fmla="*/ 7031915 h 7031915"/>
                  <a:gd name="connsiteX37" fmla="*/ 2176958 w 8033654"/>
                  <a:gd name="connsiteY37" fmla="*/ 7019956 h 7031915"/>
                  <a:gd name="connsiteX38" fmla="*/ 2176957 w 8033654"/>
                  <a:gd name="connsiteY38" fmla="*/ 7019956 h 7031915"/>
                  <a:gd name="connsiteX39" fmla="*/ 2058326 w 8033654"/>
                  <a:gd name="connsiteY39" fmla="*/ 7031915 h 7031915"/>
                  <a:gd name="connsiteX40" fmla="*/ 2058286 w 8033654"/>
                  <a:gd name="connsiteY40" fmla="*/ 7031915 h 7031915"/>
                  <a:gd name="connsiteX41" fmla="*/ 1939655 w 8033654"/>
                  <a:gd name="connsiteY41" fmla="*/ 7019956 h 7031915"/>
                  <a:gd name="connsiteX42" fmla="*/ 1642007 w 8033654"/>
                  <a:gd name="connsiteY42" fmla="*/ 6859480 h 7031915"/>
                  <a:gd name="connsiteX43" fmla="*/ 1570173 w 8033654"/>
                  <a:gd name="connsiteY43" fmla="*/ 6772417 h 7031915"/>
                  <a:gd name="connsiteX44" fmla="*/ 1508795 w 8033654"/>
                  <a:gd name="connsiteY44" fmla="*/ 6649661 h 7031915"/>
                  <a:gd name="connsiteX45" fmla="*/ 1508794 w 8033654"/>
                  <a:gd name="connsiteY45" fmla="*/ 6649657 h 7031915"/>
                  <a:gd name="connsiteX46" fmla="*/ 115723 w 8033654"/>
                  <a:gd name="connsiteY46" fmla="*/ 3863519 h 7031915"/>
                  <a:gd name="connsiteX47" fmla="*/ 115722 w 8033654"/>
                  <a:gd name="connsiteY47" fmla="*/ 3863518 h 7031915"/>
                  <a:gd name="connsiteX48" fmla="*/ 29470 w 8033654"/>
                  <a:gd name="connsiteY48" fmla="*/ 3691014 h 7031915"/>
                  <a:gd name="connsiteX49" fmla="*/ 11962 w 8033654"/>
                  <a:gd name="connsiteY49" fmla="*/ 3634608 h 7031915"/>
                  <a:gd name="connsiteX50" fmla="*/ 0 w 8033654"/>
                  <a:gd name="connsiteY50" fmla="*/ 3515957 h 7031915"/>
                  <a:gd name="connsiteX51" fmla="*/ 11962 w 8033654"/>
                  <a:gd name="connsiteY51" fmla="*/ 3397306 h 7031915"/>
                  <a:gd name="connsiteX52" fmla="*/ 29470 w 8033654"/>
                  <a:gd name="connsiteY52" fmla="*/ 3340901 h 7031915"/>
                  <a:gd name="connsiteX53" fmla="*/ 115722 w 8033654"/>
                  <a:gd name="connsiteY53" fmla="*/ 3168396 h 7031915"/>
                  <a:gd name="connsiteX54" fmla="*/ 115723 w 8033654"/>
                  <a:gd name="connsiteY54" fmla="*/ 3168396 h 7031915"/>
                  <a:gd name="connsiteX55" fmla="*/ 1508796 w 8033654"/>
                  <a:gd name="connsiteY55" fmla="*/ 382255 h 7031915"/>
                  <a:gd name="connsiteX56" fmla="*/ 1570174 w 8033654"/>
                  <a:gd name="connsiteY56" fmla="*/ 259499 h 7031915"/>
                  <a:gd name="connsiteX57" fmla="*/ 1642008 w 8033654"/>
                  <a:gd name="connsiteY57" fmla="*/ 172435 h 7031915"/>
                  <a:gd name="connsiteX58" fmla="*/ 1939656 w 8033654"/>
                  <a:gd name="connsiteY58" fmla="*/ 11959 h 7031915"/>
                  <a:gd name="connsiteX59" fmla="*/ 2058287 w 8033654"/>
                  <a:gd name="connsiteY59" fmla="*/ 0 h 7031915"/>
                  <a:gd name="connsiteX0" fmla="*/ 6556798 w 8033654"/>
                  <a:gd name="connsiteY0" fmla="*/ 533489 h 7031915"/>
                  <a:gd name="connsiteX1" fmla="*/ 6555365 w 8033654"/>
                  <a:gd name="connsiteY1" fmla="*/ 531027 h 7031915"/>
                  <a:gd name="connsiteX2" fmla="*/ 6556798 w 8033654"/>
                  <a:gd name="connsiteY2" fmla="*/ 533489 h 7031915"/>
                  <a:gd name="connsiteX3" fmla="*/ 6529086 w 8033654"/>
                  <a:gd name="connsiteY3" fmla="*/ 402424 h 7031915"/>
                  <a:gd name="connsiteX4" fmla="*/ 6540064 w 8033654"/>
                  <a:gd name="connsiteY4" fmla="*/ 434562 h 7031915"/>
                  <a:gd name="connsiteX5" fmla="*/ 6529086 w 8033654"/>
                  <a:gd name="connsiteY5" fmla="*/ 402424 h 7031915"/>
                  <a:gd name="connsiteX6" fmla="*/ 6482461 w 8033654"/>
                  <a:gd name="connsiteY6" fmla="*/ 295697 h 7031915"/>
                  <a:gd name="connsiteX7" fmla="*/ 6520430 w 8033654"/>
                  <a:gd name="connsiteY7" fmla="*/ 377086 h 7031915"/>
                  <a:gd name="connsiteX8" fmla="*/ 6515577 w 8033654"/>
                  <a:gd name="connsiteY8" fmla="*/ 362878 h 7031915"/>
                  <a:gd name="connsiteX9" fmla="*/ 6482461 w 8033654"/>
                  <a:gd name="connsiteY9" fmla="*/ 295697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176957 w 8033654"/>
                  <a:gd name="connsiteY37" fmla="*/ 7019956 h 7031915"/>
                  <a:gd name="connsiteX38" fmla="*/ 2058326 w 8033654"/>
                  <a:gd name="connsiteY38" fmla="*/ 7031915 h 7031915"/>
                  <a:gd name="connsiteX39" fmla="*/ 2058286 w 8033654"/>
                  <a:gd name="connsiteY39" fmla="*/ 7031915 h 7031915"/>
                  <a:gd name="connsiteX40" fmla="*/ 1939655 w 8033654"/>
                  <a:gd name="connsiteY40" fmla="*/ 7019956 h 7031915"/>
                  <a:gd name="connsiteX41" fmla="*/ 1642007 w 8033654"/>
                  <a:gd name="connsiteY41" fmla="*/ 6859480 h 7031915"/>
                  <a:gd name="connsiteX42" fmla="*/ 1570173 w 8033654"/>
                  <a:gd name="connsiteY42" fmla="*/ 6772417 h 7031915"/>
                  <a:gd name="connsiteX43" fmla="*/ 1508795 w 8033654"/>
                  <a:gd name="connsiteY43" fmla="*/ 6649661 h 7031915"/>
                  <a:gd name="connsiteX44" fmla="*/ 1508794 w 8033654"/>
                  <a:gd name="connsiteY44" fmla="*/ 6649657 h 7031915"/>
                  <a:gd name="connsiteX45" fmla="*/ 115723 w 8033654"/>
                  <a:gd name="connsiteY45" fmla="*/ 3863519 h 7031915"/>
                  <a:gd name="connsiteX46" fmla="*/ 115722 w 8033654"/>
                  <a:gd name="connsiteY46" fmla="*/ 3863518 h 7031915"/>
                  <a:gd name="connsiteX47" fmla="*/ 29470 w 8033654"/>
                  <a:gd name="connsiteY47" fmla="*/ 3691014 h 7031915"/>
                  <a:gd name="connsiteX48" fmla="*/ 11962 w 8033654"/>
                  <a:gd name="connsiteY48" fmla="*/ 3634608 h 7031915"/>
                  <a:gd name="connsiteX49" fmla="*/ 0 w 8033654"/>
                  <a:gd name="connsiteY49" fmla="*/ 3515957 h 7031915"/>
                  <a:gd name="connsiteX50" fmla="*/ 11962 w 8033654"/>
                  <a:gd name="connsiteY50" fmla="*/ 3397306 h 7031915"/>
                  <a:gd name="connsiteX51" fmla="*/ 29470 w 8033654"/>
                  <a:gd name="connsiteY51" fmla="*/ 3340901 h 7031915"/>
                  <a:gd name="connsiteX52" fmla="*/ 115722 w 8033654"/>
                  <a:gd name="connsiteY52" fmla="*/ 3168396 h 7031915"/>
                  <a:gd name="connsiteX53" fmla="*/ 115723 w 8033654"/>
                  <a:gd name="connsiteY53" fmla="*/ 3168396 h 7031915"/>
                  <a:gd name="connsiteX54" fmla="*/ 1508796 w 8033654"/>
                  <a:gd name="connsiteY54" fmla="*/ 382255 h 7031915"/>
                  <a:gd name="connsiteX55" fmla="*/ 1570174 w 8033654"/>
                  <a:gd name="connsiteY55" fmla="*/ 259499 h 7031915"/>
                  <a:gd name="connsiteX56" fmla="*/ 1642008 w 8033654"/>
                  <a:gd name="connsiteY56" fmla="*/ 172435 h 7031915"/>
                  <a:gd name="connsiteX57" fmla="*/ 1939656 w 8033654"/>
                  <a:gd name="connsiteY57" fmla="*/ 11959 h 7031915"/>
                  <a:gd name="connsiteX58" fmla="*/ 2058287 w 8033654"/>
                  <a:gd name="connsiteY58"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6490605 w 8033654"/>
                  <a:gd name="connsiteY18" fmla="*/ 298322 h 7031915"/>
                  <a:gd name="connsiteX19" fmla="*/ 7949332 w 8033654"/>
                  <a:gd name="connsiteY19" fmla="*/ 3216682 h 7031915"/>
                  <a:gd name="connsiteX20" fmla="*/ 7992299 w 8033654"/>
                  <a:gd name="connsiteY20" fmla="*/ 3302616 h 7031915"/>
                  <a:gd name="connsiteX21" fmla="*/ 8021693 w 8033654"/>
                  <a:gd name="connsiteY21" fmla="*/ 3397306 h 7031915"/>
                  <a:gd name="connsiteX22" fmla="*/ 8033654 w 8033654"/>
                  <a:gd name="connsiteY22" fmla="*/ 3515957 h 7031915"/>
                  <a:gd name="connsiteX23" fmla="*/ 8021693 w 8033654"/>
                  <a:gd name="connsiteY23" fmla="*/ 3634608 h 7031915"/>
                  <a:gd name="connsiteX24" fmla="*/ 7992299 w 8033654"/>
                  <a:gd name="connsiteY24" fmla="*/ 3729298 h 7031915"/>
                  <a:gd name="connsiteX25" fmla="*/ 7949332 w 8033654"/>
                  <a:gd name="connsiteY25" fmla="*/ 3815232 h 7031915"/>
                  <a:gd name="connsiteX26" fmla="*/ 6535055 w 8033654"/>
                  <a:gd name="connsiteY26" fmla="*/ 6638796 h 7031915"/>
                  <a:gd name="connsiteX27" fmla="*/ 6524461 w 8033654"/>
                  <a:gd name="connsiteY27" fmla="*/ 6646190 h 7031915"/>
                  <a:gd name="connsiteX28" fmla="*/ 6482456 w 8033654"/>
                  <a:gd name="connsiteY28" fmla="*/ 6736229 h 7031915"/>
                  <a:gd name="connsiteX29" fmla="*/ 6090371 w 8033654"/>
                  <a:gd name="connsiteY29" fmla="*/ 7019956 h 7031915"/>
                  <a:gd name="connsiteX30" fmla="*/ 5971740 w 8033654"/>
                  <a:gd name="connsiteY30" fmla="*/ 7031915 h 7031915"/>
                  <a:gd name="connsiteX31" fmla="*/ 5971700 w 8033654"/>
                  <a:gd name="connsiteY31" fmla="*/ 7031915 h 7031915"/>
                  <a:gd name="connsiteX32" fmla="*/ 2058326 w 8033654"/>
                  <a:gd name="connsiteY32" fmla="*/ 7031915 h 7031915"/>
                  <a:gd name="connsiteX33" fmla="*/ 2176958 w 8033654"/>
                  <a:gd name="connsiteY33" fmla="*/ 7019956 h 7031915"/>
                  <a:gd name="connsiteX34" fmla="*/ 2176957 w 8033654"/>
                  <a:gd name="connsiteY34" fmla="*/ 7019956 h 7031915"/>
                  <a:gd name="connsiteX35" fmla="*/ 2058326 w 8033654"/>
                  <a:gd name="connsiteY35" fmla="*/ 7031915 h 7031915"/>
                  <a:gd name="connsiteX36" fmla="*/ 2058286 w 8033654"/>
                  <a:gd name="connsiteY36" fmla="*/ 7031915 h 7031915"/>
                  <a:gd name="connsiteX37" fmla="*/ 1939655 w 8033654"/>
                  <a:gd name="connsiteY37" fmla="*/ 7019956 h 7031915"/>
                  <a:gd name="connsiteX38" fmla="*/ 1642007 w 8033654"/>
                  <a:gd name="connsiteY38" fmla="*/ 6859480 h 7031915"/>
                  <a:gd name="connsiteX39" fmla="*/ 1570173 w 8033654"/>
                  <a:gd name="connsiteY39" fmla="*/ 6772417 h 7031915"/>
                  <a:gd name="connsiteX40" fmla="*/ 1508795 w 8033654"/>
                  <a:gd name="connsiteY40" fmla="*/ 6649661 h 7031915"/>
                  <a:gd name="connsiteX41" fmla="*/ 1508794 w 8033654"/>
                  <a:gd name="connsiteY41" fmla="*/ 6649657 h 7031915"/>
                  <a:gd name="connsiteX42" fmla="*/ 115723 w 8033654"/>
                  <a:gd name="connsiteY42" fmla="*/ 3863519 h 7031915"/>
                  <a:gd name="connsiteX43" fmla="*/ 115722 w 8033654"/>
                  <a:gd name="connsiteY43" fmla="*/ 3863518 h 7031915"/>
                  <a:gd name="connsiteX44" fmla="*/ 29470 w 8033654"/>
                  <a:gd name="connsiteY44" fmla="*/ 3691014 h 7031915"/>
                  <a:gd name="connsiteX45" fmla="*/ 11962 w 8033654"/>
                  <a:gd name="connsiteY45" fmla="*/ 3634608 h 7031915"/>
                  <a:gd name="connsiteX46" fmla="*/ 0 w 8033654"/>
                  <a:gd name="connsiteY46" fmla="*/ 3515957 h 7031915"/>
                  <a:gd name="connsiteX47" fmla="*/ 11962 w 8033654"/>
                  <a:gd name="connsiteY47" fmla="*/ 3397306 h 7031915"/>
                  <a:gd name="connsiteX48" fmla="*/ 29470 w 8033654"/>
                  <a:gd name="connsiteY48" fmla="*/ 3340901 h 7031915"/>
                  <a:gd name="connsiteX49" fmla="*/ 115722 w 8033654"/>
                  <a:gd name="connsiteY49" fmla="*/ 3168396 h 7031915"/>
                  <a:gd name="connsiteX50" fmla="*/ 115723 w 8033654"/>
                  <a:gd name="connsiteY50" fmla="*/ 3168396 h 7031915"/>
                  <a:gd name="connsiteX51" fmla="*/ 1508796 w 8033654"/>
                  <a:gd name="connsiteY51" fmla="*/ 382255 h 7031915"/>
                  <a:gd name="connsiteX52" fmla="*/ 1570174 w 8033654"/>
                  <a:gd name="connsiteY52" fmla="*/ 259499 h 7031915"/>
                  <a:gd name="connsiteX53" fmla="*/ 1642008 w 8033654"/>
                  <a:gd name="connsiteY53" fmla="*/ 172435 h 7031915"/>
                  <a:gd name="connsiteX54" fmla="*/ 1939656 w 8033654"/>
                  <a:gd name="connsiteY54" fmla="*/ 11959 h 7031915"/>
                  <a:gd name="connsiteX55" fmla="*/ 2058287 w 8033654"/>
                  <a:gd name="connsiteY55"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7949332 w 8033654"/>
                  <a:gd name="connsiteY18" fmla="*/ 3216682 h 7031915"/>
                  <a:gd name="connsiteX19" fmla="*/ 7992299 w 8033654"/>
                  <a:gd name="connsiteY19" fmla="*/ 3302616 h 7031915"/>
                  <a:gd name="connsiteX20" fmla="*/ 8021693 w 8033654"/>
                  <a:gd name="connsiteY20" fmla="*/ 3397306 h 7031915"/>
                  <a:gd name="connsiteX21" fmla="*/ 8033654 w 8033654"/>
                  <a:gd name="connsiteY21" fmla="*/ 3515957 h 7031915"/>
                  <a:gd name="connsiteX22" fmla="*/ 8021693 w 8033654"/>
                  <a:gd name="connsiteY22" fmla="*/ 3634608 h 7031915"/>
                  <a:gd name="connsiteX23" fmla="*/ 7992299 w 8033654"/>
                  <a:gd name="connsiteY23" fmla="*/ 3729298 h 7031915"/>
                  <a:gd name="connsiteX24" fmla="*/ 7949332 w 8033654"/>
                  <a:gd name="connsiteY24" fmla="*/ 3815232 h 7031915"/>
                  <a:gd name="connsiteX25" fmla="*/ 6535055 w 8033654"/>
                  <a:gd name="connsiteY25" fmla="*/ 6638796 h 7031915"/>
                  <a:gd name="connsiteX26" fmla="*/ 6524461 w 8033654"/>
                  <a:gd name="connsiteY26" fmla="*/ 6646190 h 7031915"/>
                  <a:gd name="connsiteX27" fmla="*/ 6482456 w 8033654"/>
                  <a:gd name="connsiteY27" fmla="*/ 6736229 h 7031915"/>
                  <a:gd name="connsiteX28" fmla="*/ 6090371 w 8033654"/>
                  <a:gd name="connsiteY28" fmla="*/ 7019956 h 7031915"/>
                  <a:gd name="connsiteX29" fmla="*/ 5971740 w 8033654"/>
                  <a:gd name="connsiteY29" fmla="*/ 7031915 h 7031915"/>
                  <a:gd name="connsiteX30" fmla="*/ 5971700 w 8033654"/>
                  <a:gd name="connsiteY30" fmla="*/ 7031915 h 7031915"/>
                  <a:gd name="connsiteX31" fmla="*/ 2058326 w 8033654"/>
                  <a:gd name="connsiteY31" fmla="*/ 7031915 h 7031915"/>
                  <a:gd name="connsiteX32" fmla="*/ 2176958 w 8033654"/>
                  <a:gd name="connsiteY32" fmla="*/ 7019956 h 7031915"/>
                  <a:gd name="connsiteX33" fmla="*/ 2176957 w 8033654"/>
                  <a:gd name="connsiteY33" fmla="*/ 7019956 h 7031915"/>
                  <a:gd name="connsiteX34" fmla="*/ 2058326 w 8033654"/>
                  <a:gd name="connsiteY34" fmla="*/ 7031915 h 7031915"/>
                  <a:gd name="connsiteX35" fmla="*/ 2058286 w 8033654"/>
                  <a:gd name="connsiteY35" fmla="*/ 7031915 h 7031915"/>
                  <a:gd name="connsiteX36" fmla="*/ 1939655 w 8033654"/>
                  <a:gd name="connsiteY36" fmla="*/ 7019956 h 7031915"/>
                  <a:gd name="connsiteX37" fmla="*/ 1642007 w 8033654"/>
                  <a:gd name="connsiteY37" fmla="*/ 6859480 h 7031915"/>
                  <a:gd name="connsiteX38" fmla="*/ 1570173 w 8033654"/>
                  <a:gd name="connsiteY38" fmla="*/ 6772417 h 7031915"/>
                  <a:gd name="connsiteX39" fmla="*/ 1508795 w 8033654"/>
                  <a:gd name="connsiteY39" fmla="*/ 6649661 h 7031915"/>
                  <a:gd name="connsiteX40" fmla="*/ 1508794 w 8033654"/>
                  <a:gd name="connsiteY40" fmla="*/ 6649657 h 7031915"/>
                  <a:gd name="connsiteX41" fmla="*/ 115723 w 8033654"/>
                  <a:gd name="connsiteY41" fmla="*/ 3863519 h 7031915"/>
                  <a:gd name="connsiteX42" fmla="*/ 115722 w 8033654"/>
                  <a:gd name="connsiteY42" fmla="*/ 3863518 h 7031915"/>
                  <a:gd name="connsiteX43" fmla="*/ 29470 w 8033654"/>
                  <a:gd name="connsiteY43" fmla="*/ 3691014 h 7031915"/>
                  <a:gd name="connsiteX44" fmla="*/ 11962 w 8033654"/>
                  <a:gd name="connsiteY44" fmla="*/ 3634608 h 7031915"/>
                  <a:gd name="connsiteX45" fmla="*/ 0 w 8033654"/>
                  <a:gd name="connsiteY45" fmla="*/ 3515957 h 7031915"/>
                  <a:gd name="connsiteX46" fmla="*/ 11962 w 8033654"/>
                  <a:gd name="connsiteY46" fmla="*/ 3397306 h 7031915"/>
                  <a:gd name="connsiteX47" fmla="*/ 29470 w 8033654"/>
                  <a:gd name="connsiteY47" fmla="*/ 3340901 h 7031915"/>
                  <a:gd name="connsiteX48" fmla="*/ 115722 w 8033654"/>
                  <a:gd name="connsiteY48" fmla="*/ 3168396 h 7031915"/>
                  <a:gd name="connsiteX49" fmla="*/ 115723 w 8033654"/>
                  <a:gd name="connsiteY49" fmla="*/ 3168396 h 7031915"/>
                  <a:gd name="connsiteX50" fmla="*/ 1508796 w 8033654"/>
                  <a:gd name="connsiteY50" fmla="*/ 382255 h 7031915"/>
                  <a:gd name="connsiteX51" fmla="*/ 1570174 w 8033654"/>
                  <a:gd name="connsiteY51" fmla="*/ 259499 h 7031915"/>
                  <a:gd name="connsiteX52" fmla="*/ 1642008 w 8033654"/>
                  <a:gd name="connsiteY52" fmla="*/ 172435 h 7031915"/>
                  <a:gd name="connsiteX53" fmla="*/ 1939656 w 8033654"/>
                  <a:gd name="connsiteY53" fmla="*/ 11959 h 7031915"/>
                  <a:gd name="connsiteX54" fmla="*/ 2058287 w 8033654"/>
                  <a:gd name="connsiteY54"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482461 w 8033654"/>
                  <a:gd name="connsiteY5" fmla="*/ 295697 h 7031915"/>
                  <a:gd name="connsiteX6" fmla="*/ 2058287 w 8033654"/>
                  <a:gd name="connsiteY6" fmla="*/ 0 h 7031915"/>
                  <a:gd name="connsiteX7" fmla="*/ 2058326 w 8033654"/>
                  <a:gd name="connsiteY7" fmla="*/ 0 h 7031915"/>
                  <a:gd name="connsiteX8" fmla="*/ 5971699 w 8033654"/>
                  <a:gd name="connsiteY8" fmla="*/ 0 h 7031915"/>
                  <a:gd name="connsiteX9" fmla="*/ 5971700 w 8033654"/>
                  <a:gd name="connsiteY9" fmla="*/ 0 h 7031915"/>
                  <a:gd name="connsiteX10" fmla="*/ 5971740 w 8033654"/>
                  <a:gd name="connsiteY10" fmla="*/ 0 h 7031915"/>
                  <a:gd name="connsiteX11" fmla="*/ 6090371 w 8033654"/>
                  <a:gd name="connsiteY11" fmla="*/ 11959 h 7031915"/>
                  <a:gd name="connsiteX12" fmla="*/ 6357004 w 8033654"/>
                  <a:gd name="connsiteY12" fmla="*/ 143562 h 7031915"/>
                  <a:gd name="connsiteX13" fmla="*/ 6421756 w 8033654"/>
                  <a:gd name="connsiteY13" fmla="*/ 209878 h 7031915"/>
                  <a:gd name="connsiteX14" fmla="*/ 6426018 w 8033654"/>
                  <a:gd name="connsiteY14" fmla="*/ 214243 h 7031915"/>
                  <a:gd name="connsiteX15" fmla="*/ 6463356 w 8033654"/>
                  <a:gd name="connsiteY15" fmla="*/ 268125 h 7031915"/>
                  <a:gd name="connsiteX16" fmla="*/ 6480094 w 8033654"/>
                  <a:gd name="connsiteY16" fmla="*/ 292278 h 7031915"/>
                  <a:gd name="connsiteX17" fmla="*/ 7949332 w 8033654"/>
                  <a:gd name="connsiteY17" fmla="*/ 3216682 h 7031915"/>
                  <a:gd name="connsiteX18" fmla="*/ 7992299 w 8033654"/>
                  <a:gd name="connsiteY18" fmla="*/ 3302616 h 7031915"/>
                  <a:gd name="connsiteX19" fmla="*/ 8021693 w 8033654"/>
                  <a:gd name="connsiteY19" fmla="*/ 3397306 h 7031915"/>
                  <a:gd name="connsiteX20" fmla="*/ 8033654 w 8033654"/>
                  <a:gd name="connsiteY20" fmla="*/ 3515957 h 7031915"/>
                  <a:gd name="connsiteX21" fmla="*/ 8021693 w 8033654"/>
                  <a:gd name="connsiteY21" fmla="*/ 3634608 h 7031915"/>
                  <a:gd name="connsiteX22" fmla="*/ 7992299 w 8033654"/>
                  <a:gd name="connsiteY22" fmla="*/ 3729298 h 7031915"/>
                  <a:gd name="connsiteX23" fmla="*/ 7949332 w 8033654"/>
                  <a:gd name="connsiteY23" fmla="*/ 3815232 h 7031915"/>
                  <a:gd name="connsiteX24" fmla="*/ 6535055 w 8033654"/>
                  <a:gd name="connsiteY24" fmla="*/ 6638796 h 7031915"/>
                  <a:gd name="connsiteX25" fmla="*/ 6524461 w 8033654"/>
                  <a:gd name="connsiteY25" fmla="*/ 6646190 h 7031915"/>
                  <a:gd name="connsiteX26" fmla="*/ 6482456 w 8033654"/>
                  <a:gd name="connsiteY26" fmla="*/ 6736229 h 7031915"/>
                  <a:gd name="connsiteX27" fmla="*/ 6090371 w 8033654"/>
                  <a:gd name="connsiteY27" fmla="*/ 7019956 h 7031915"/>
                  <a:gd name="connsiteX28" fmla="*/ 5971740 w 8033654"/>
                  <a:gd name="connsiteY28" fmla="*/ 7031915 h 7031915"/>
                  <a:gd name="connsiteX29" fmla="*/ 5971700 w 8033654"/>
                  <a:gd name="connsiteY29" fmla="*/ 7031915 h 7031915"/>
                  <a:gd name="connsiteX30" fmla="*/ 2058326 w 8033654"/>
                  <a:gd name="connsiteY30" fmla="*/ 7031915 h 7031915"/>
                  <a:gd name="connsiteX31" fmla="*/ 2176958 w 8033654"/>
                  <a:gd name="connsiteY31" fmla="*/ 7019956 h 7031915"/>
                  <a:gd name="connsiteX32" fmla="*/ 2176957 w 8033654"/>
                  <a:gd name="connsiteY32" fmla="*/ 7019956 h 7031915"/>
                  <a:gd name="connsiteX33" fmla="*/ 2058326 w 8033654"/>
                  <a:gd name="connsiteY33" fmla="*/ 7031915 h 7031915"/>
                  <a:gd name="connsiteX34" fmla="*/ 2058286 w 8033654"/>
                  <a:gd name="connsiteY34" fmla="*/ 7031915 h 7031915"/>
                  <a:gd name="connsiteX35" fmla="*/ 1939655 w 8033654"/>
                  <a:gd name="connsiteY35" fmla="*/ 7019956 h 7031915"/>
                  <a:gd name="connsiteX36" fmla="*/ 1642007 w 8033654"/>
                  <a:gd name="connsiteY36" fmla="*/ 6859480 h 7031915"/>
                  <a:gd name="connsiteX37" fmla="*/ 1570173 w 8033654"/>
                  <a:gd name="connsiteY37" fmla="*/ 6772417 h 7031915"/>
                  <a:gd name="connsiteX38" fmla="*/ 1508795 w 8033654"/>
                  <a:gd name="connsiteY38" fmla="*/ 6649661 h 7031915"/>
                  <a:gd name="connsiteX39" fmla="*/ 1508794 w 8033654"/>
                  <a:gd name="connsiteY39" fmla="*/ 6649657 h 7031915"/>
                  <a:gd name="connsiteX40" fmla="*/ 115723 w 8033654"/>
                  <a:gd name="connsiteY40" fmla="*/ 3863519 h 7031915"/>
                  <a:gd name="connsiteX41" fmla="*/ 115722 w 8033654"/>
                  <a:gd name="connsiteY41" fmla="*/ 3863518 h 7031915"/>
                  <a:gd name="connsiteX42" fmla="*/ 29470 w 8033654"/>
                  <a:gd name="connsiteY42" fmla="*/ 3691014 h 7031915"/>
                  <a:gd name="connsiteX43" fmla="*/ 11962 w 8033654"/>
                  <a:gd name="connsiteY43" fmla="*/ 3634608 h 7031915"/>
                  <a:gd name="connsiteX44" fmla="*/ 0 w 8033654"/>
                  <a:gd name="connsiteY44" fmla="*/ 3515957 h 7031915"/>
                  <a:gd name="connsiteX45" fmla="*/ 11962 w 8033654"/>
                  <a:gd name="connsiteY45" fmla="*/ 3397306 h 7031915"/>
                  <a:gd name="connsiteX46" fmla="*/ 29470 w 8033654"/>
                  <a:gd name="connsiteY46" fmla="*/ 3340901 h 7031915"/>
                  <a:gd name="connsiteX47" fmla="*/ 115722 w 8033654"/>
                  <a:gd name="connsiteY47" fmla="*/ 3168396 h 7031915"/>
                  <a:gd name="connsiteX48" fmla="*/ 115723 w 8033654"/>
                  <a:gd name="connsiteY48" fmla="*/ 3168396 h 7031915"/>
                  <a:gd name="connsiteX49" fmla="*/ 1508796 w 8033654"/>
                  <a:gd name="connsiteY49" fmla="*/ 382255 h 7031915"/>
                  <a:gd name="connsiteX50" fmla="*/ 1570174 w 8033654"/>
                  <a:gd name="connsiteY50" fmla="*/ 259499 h 7031915"/>
                  <a:gd name="connsiteX51" fmla="*/ 1642008 w 8033654"/>
                  <a:gd name="connsiteY51" fmla="*/ 172435 h 7031915"/>
                  <a:gd name="connsiteX52" fmla="*/ 1939656 w 8033654"/>
                  <a:gd name="connsiteY52" fmla="*/ 11959 h 7031915"/>
                  <a:gd name="connsiteX53" fmla="*/ 2058287 w 8033654"/>
                  <a:gd name="connsiteY53"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2058287 w 8033654"/>
                  <a:gd name="connsiteY3" fmla="*/ 0 h 7031915"/>
                  <a:gd name="connsiteX4" fmla="*/ 2058326 w 8033654"/>
                  <a:gd name="connsiteY4" fmla="*/ 0 h 7031915"/>
                  <a:gd name="connsiteX5" fmla="*/ 5971699 w 8033654"/>
                  <a:gd name="connsiteY5" fmla="*/ 0 h 7031915"/>
                  <a:gd name="connsiteX6" fmla="*/ 5971700 w 8033654"/>
                  <a:gd name="connsiteY6" fmla="*/ 0 h 7031915"/>
                  <a:gd name="connsiteX7" fmla="*/ 5971740 w 8033654"/>
                  <a:gd name="connsiteY7" fmla="*/ 0 h 7031915"/>
                  <a:gd name="connsiteX8" fmla="*/ 6090371 w 8033654"/>
                  <a:gd name="connsiteY8" fmla="*/ 11959 h 7031915"/>
                  <a:gd name="connsiteX9" fmla="*/ 6357004 w 8033654"/>
                  <a:gd name="connsiteY9" fmla="*/ 143562 h 7031915"/>
                  <a:gd name="connsiteX10" fmla="*/ 6421756 w 8033654"/>
                  <a:gd name="connsiteY10" fmla="*/ 209878 h 7031915"/>
                  <a:gd name="connsiteX11" fmla="*/ 6426018 w 8033654"/>
                  <a:gd name="connsiteY11" fmla="*/ 214243 h 7031915"/>
                  <a:gd name="connsiteX12" fmla="*/ 6463356 w 8033654"/>
                  <a:gd name="connsiteY12" fmla="*/ 268125 h 7031915"/>
                  <a:gd name="connsiteX13" fmla="*/ 6480094 w 8033654"/>
                  <a:gd name="connsiteY13" fmla="*/ 292278 h 7031915"/>
                  <a:gd name="connsiteX14" fmla="*/ 7949332 w 8033654"/>
                  <a:gd name="connsiteY14" fmla="*/ 3216682 h 7031915"/>
                  <a:gd name="connsiteX15" fmla="*/ 7992299 w 8033654"/>
                  <a:gd name="connsiteY15" fmla="*/ 3302616 h 7031915"/>
                  <a:gd name="connsiteX16" fmla="*/ 8021693 w 8033654"/>
                  <a:gd name="connsiteY16" fmla="*/ 3397306 h 7031915"/>
                  <a:gd name="connsiteX17" fmla="*/ 8033654 w 8033654"/>
                  <a:gd name="connsiteY17" fmla="*/ 3515957 h 7031915"/>
                  <a:gd name="connsiteX18" fmla="*/ 8021693 w 8033654"/>
                  <a:gd name="connsiteY18" fmla="*/ 3634608 h 7031915"/>
                  <a:gd name="connsiteX19" fmla="*/ 7992299 w 8033654"/>
                  <a:gd name="connsiteY19" fmla="*/ 3729298 h 7031915"/>
                  <a:gd name="connsiteX20" fmla="*/ 7949332 w 8033654"/>
                  <a:gd name="connsiteY20" fmla="*/ 3815232 h 7031915"/>
                  <a:gd name="connsiteX21" fmla="*/ 6535055 w 8033654"/>
                  <a:gd name="connsiteY21" fmla="*/ 6638796 h 7031915"/>
                  <a:gd name="connsiteX22" fmla="*/ 6524461 w 8033654"/>
                  <a:gd name="connsiteY22" fmla="*/ 6646190 h 7031915"/>
                  <a:gd name="connsiteX23" fmla="*/ 6482456 w 8033654"/>
                  <a:gd name="connsiteY23" fmla="*/ 6736229 h 7031915"/>
                  <a:gd name="connsiteX24" fmla="*/ 6090371 w 8033654"/>
                  <a:gd name="connsiteY24" fmla="*/ 7019956 h 7031915"/>
                  <a:gd name="connsiteX25" fmla="*/ 5971740 w 8033654"/>
                  <a:gd name="connsiteY25" fmla="*/ 7031915 h 7031915"/>
                  <a:gd name="connsiteX26" fmla="*/ 5971700 w 8033654"/>
                  <a:gd name="connsiteY26" fmla="*/ 7031915 h 7031915"/>
                  <a:gd name="connsiteX27" fmla="*/ 2058326 w 8033654"/>
                  <a:gd name="connsiteY27" fmla="*/ 7031915 h 7031915"/>
                  <a:gd name="connsiteX28" fmla="*/ 2176958 w 8033654"/>
                  <a:gd name="connsiteY28" fmla="*/ 7019956 h 7031915"/>
                  <a:gd name="connsiteX29" fmla="*/ 2176957 w 8033654"/>
                  <a:gd name="connsiteY29" fmla="*/ 7019956 h 7031915"/>
                  <a:gd name="connsiteX30" fmla="*/ 2058326 w 8033654"/>
                  <a:gd name="connsiteY30" fmla="*/ 7031915 h 7031915"/>
                  <a:gd name="connsiteX31" fmla="*/ 2058286 w 8033654"/>
                  <a:gd name="connsiteY31" fmla="*/ 7031915 h 7031915"/>
                  <a:gd name="connsiteX32" fmla="*/ 1939655 w 8033654"/>
                  <a:gd name="connsiteY32" fmla="*/ 7019956 h 7031915"/>
                  <a:gd name="connsiteX33" fmla="*/ 1642007 w 8033654"/>
                  <a:gd name="connsiteY33" fmla="*/ 6859480 h 7031915"/>
                  <a:gd name="connsiteX34" fmla="*/ 1570173 w 8033654"/>
                  <a:gd name="connsiteY34" fmla="*/ 6772417 h 7031915"/>
                  <a:gd name="connsiteX35" fmla="*/ 1508795 w 8033654"/>
                  <a:gd name="connsiteY35" fmla="*/ 6649661 h 7031915"/>
                  <a:gd name="connsiteX36" fmla="*/ 1508794 w 8033654"/>
                  <a:gd name="connsiteY36" fmla="*/ 6649657 h 7031915"/>
                  <a:gd name="connsiteX37" fmla="*/ 115723 w 8033654"/>
                  <a:gd name="connsiteY37" fmla="*/ 3863519 h 7031915"/>
                  <a:gd name="connsiteX38" fmla="*/ 115722 w 8033654"/>
                  <a:gd name="connsiteY38" fmla="*/ 3863518 h 7031915"/>
                  <a:gd name="connsiteX39" fmla="*/ 29470 w 8033654"/>
                  <a:gd name="connsiteY39" fmla="*/ 3691014 h 7031915"/>
                  <a:gd name="connsiteX40" fmla="*/ 11962 w 8033654"/>
                  <a:gd name="connsiteY40" fmla="*/ 3634608 h 7031915"/>
                  <a:gd name="connsiteX41" fmla="*/ 0 w 8033654"/>
                  <a:gd name="connsiteY41" fmla="*/ 3515957 h 7031915"/>
                  <a:gd name="connsiteX42" fmla="*/ 11962 w 8033654"/>
                  <a:gd name="connsiteY42" fmla="*/ 3397306 h 7031915"/>
                  <a:gd name="connsiteX43" fmla="*/ 29470 w 8033654"/>
                  <a:gd name="connsiteY43" fmla="*/ 3340901 h 7031915"/>
                  <a:gd name="connsiteX44" fmla="*/ 115722 w 8033654"/>
                  <a:gd name="connsiteY44" fmla="*/ 3168396 h 7031915"/>
                  <a:gd name="connsiteX45" fmla="*/ 115723 w 8033654"/>
                  <a:gd name="connsiteY45" fmla="*/ 3168396 h 7031915"/>
                  <a:gd name="connsiteX46" fmla="*/ 1508796 w 8033654"/>
                  <a:gd name="connsiteY46" fmla="*/ 382255 h 7031915"/>
                  <a:gd name="connsiteX47" fmla="*/ 1570174 w 8033654"/>
                  <a:gd name="connsiteY47" fmla="*/ 259499 h 7031915"/>
                  <a:gd name="connsiteX48" fmla="*/ 1642008 w 8033654"/>
                  <a:gd name="connsiteY48" fmla="*/ 172435 h 7031915"/>
                  <a:gd name="connsiteX49" fmla="*/ 1939656 w 8033654"/>
                  <a:gd name="connsiteY49" fmla="*/ 11959 h 7031915"/>
                  <a:gd name="connsiteX50" fmla="*/ 2058287 w 8033654"/>
                  <a:gd name="connsiteY50"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6480094 w 8033654"/>
                  <a:gd name="connsiteY10" fmla="*/ 292278 h 7031915"/>
                  <a:gd name="connsiteX11" fmla="*/ 7949332 w 8033654"/>
                  <a:gd name="connsiteY11" fmla="*/ 3216682 h 7031915"/>
                  <a:gd name="connsiteX12" fmla="*/ 7992299 w 8033654"/>
                  <a:gd name="connsiteY12" fmla="*/ 3302616 h 7031915"/>
                  <a:gd name="connsiteX13" fmla="*/ 8021693 w 8033654"/>
                  <a:gd name="connsiteY13" fmla="*/ 3397306 h 7031915"/>
                  <a:gd name="connsiteX14" fmla="*/ 8033654 w 8033654"/>
                  <a:gd name="connsiteY14" fmla="*/ 3515957 h 7031915"/>
                  <a:gd name="connsiteX15" fmla="*/ 8021693 w 8033654"/>
                  <a:gd name="connsiteY15" fmla="*/ 3634608 h 7031915"/>
                  <a:gd name="connsiteX16" fmla="*/ 7992299 w 8033654"/>
                  <a:gd name="connsiteY16" fmla="*/ 3729298 h 7031915"/>
                  <a:gd name="connsiteX17" fmla="*/ 7949332 w 8033654"/>
                  <a:gd name="connsiteY17" fmla="*/ 3815232 h 7031915"/>
                  <a:gd name="connsiteX18" fmla="*/ 6535055 w 8033654"/>
                  <a:gd name="connsiteY18" fmla="*/ 6638796 h 7031915"/>
                  <a:gd name="connsiteX19" fmla="*/ 6524461 w 8033654"/>
                  <a:gd name="connsiteY19" fmla="*/ 6646190 h 7031915"/>
                  <a:gd name="connsiteX20" fmla="*/ 6482456 w 8033654"/>
                  <a:gd name="connsiteY20" fmla="*/ 6736229 h 7031915"/>
                  <a:gd name="connsiteX21" fmla="*/ 6090371 w 8033654"/>
                  <a:gd name="connsiteY21" fmla="*/ 7019956 h 7031915"/>
                  <a:gd name="connsiteX22" fmla="*/ 5971740 w 8033654"/>
                  <a:gd name="connsiteY22" fmla="*/ 7031915 h 7031915"/>
                  <a:gd name="connsiteX23" fmla="*/ 5971700 w 8033654"/>
                  <a:gd name="connsiteY23" fmla="*/ 7031915 h 7031915"/>
                  <a:gd name="connsiteX24" fmla="*/ 2058326 w 8033654"/>
                  <a:gd name="connsiteY24" fmla="*/ 7031915 h 7031915"/>
                  <a:gd name="connsiteX25" fmla="*/ 2176958 w 8033654"/>
                  <a:gd name="connsiteY25" fmla="*/ 7019956 h 7031915"/>
                  <a:gd name="connsiteX26" fmla="*/ 2176957 w 8033654"/>
                  <a:gd name="connsiteY26" fmla="*/ 7019956 h 7031915"/>
                  <a:gd name="connsiteX27" fmla="*/ 2058326 w 8033654"/>
                  <a:gd name="connsiteY27" fmla="*/ 7031915 h 7031915"/>
                  <a:gd name="connsiteX28" fmla="*/ 2058286 w 8033654"/>
                  <a:gd name="connsiteY28" fmla="*/ 7031915 h 7031915"/>
                  <a:gd name="connsiteX29" fmla="*/ 1939655 w 8033654"/>
                  <a:gd name="connsiteY29" fmla="*/ 7019956 h 7031915"/>
                  <a:gd name="connsiteX30" fmla="*/ 1642007 w 8033654"/>
                  <a:gd name="connsiteY30" fmla="*/ 6859480 h 7031915"/>
                  <a:gd name="connsiteX31" fmla="*/ 1570173 w 8033654"/>
                  <a:gd name="connsiteY31" fmla="*/ 6772417 h 7031915"/>
                  <a:gd name="connsiteX32" fmla="*/ 1508795 w 8033654"/>
                  <a:gd name="connsiteY32" fmla="*/ 6649661 h 7031915"/>
                  <a:gd name="connsiteX33" fmla="*/ 1508794 w 8033654"/>
                  <a:gd name="connsiteY33" fmla="*/ 6649657 h 7031915"/>
                  <a:gd name="connsiteX34" fmla="*/ 115723 w 8033654"/>
                  <a:gd name="connsiteY34" fmla="*/ 3863519 h 7031915"/>
                  <a:gd name="connsiteX35" fmla="*/ 115722 w 8033654"/>
                  <a:gd name="connsiteY35" fmla="*/ 3863518 h 7031915"/>
                  <a:gd name="connsiteX36" fmla="*/ 29470 w 8033654"/>
                  <a:gd name="connsiteY36" fmla="*/ 3691014 h 7031915"/>
                  <a:gd name="connsiteX37" fmla="*/ 11962 w 8033654"/>
                  <a:gd name="connsiteY37" fmla="*/ 3634608 h 7031915"/>
                  <a:gd name="connsiteX38" fmla="*/ 0 w 8033654"/>
                  <a:gd name="connsiteY38" fmla="*/ 3515957 h 7031915"/>
                  <a:gd name="connsiteX39" fmla="*/ 11962 w 8033654"/>
                  <a:gd name="connsiteY39" fmla="*/ 3397306 h 7031915"/>
                  <a:gd name="connsiteX40" fmla="*/ 29470 w 8033654"/>
                  <a:gd name="connsiteY40" fmla="*/ 3340901 h 7031915"/>
                  <a:gd name="connsiteX41" fmla="*/ 115722 w 8033654"/>
                  <a:gd name="connsiteY41" fmla="*/ 3168396 h 7031915"/>
                  <a:gd name="connsiteX42" fmla="*/ 115723 w 8033654"/>
                  <a:gd name="connsiteY42" fmla="*/ 3168396 h 7031915"/>
                  <a:gd name="connsiteX43" fmla="*/ 1508796 w 8033654"/>
                  <a:gd name="connsiteY43" fmla="*/ 382255 h 7031915"/>
                  <a:gd name="connsiteX44" fmla="*/ 1570174 w 8033654"/>
                  <a:gd name="connsiteY44" fmla="*/ 259499 h 7031915"/>
                  <a:gd name="connsiteX45" fmla="*/ 1642008 w 8033654"/>
                  <a:gd name="connsiteY45" fmla="*/ 172435 h 7031915"/>
                  <a:gd name="connsiteX46" fmla="*/ 1939656 w 8033654"/>
                  <a:gd name="connsiteY46" fmla="*/ 11959 h 7031915"/>
                  <a:gd name="connsiteX47" fmla="*/ 2058287 w 8033654"/>
                  <a:gd name="connsiteY47"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176957 w 8033654"/>
                  <a:gd name="connsiteY25" fmla="*/ 7019956 h 7031915"/>
                  <a:gd name="connsiteX26" fmla="*/ 2058326 w 8033654"/>
                  <a:gd name="connsiteY26" fmla="*/ 7031915 h 7031915"/>
                  <a:gd name="connsiteX27" fmla="*/ 2058286 w 8033654"/>
                  <a:gd name="connsiteY27" fmla="*/ 7031915 h 7031915"/>
                  <a:gd name="connsiteX28" fmla="*/ 1939655 w 8033654"/>
                  <a:gd name="connsiteY28" fmla="*/ 7019956 h 7031915"/>
                  <a:gd name="connsiteX29" fmla="*/ 1642007 w 8033654"/>
                  <a:gd name="connsiteY29" fmla="*/ 6859480 h 7031915"/>
                  <a:gd name="connsiteX30" fmla="*/ 1570173 w 8033654"/>
                  <a:gd name="connsiteY30" fmla="*/ 6772417 h 7031915"/>
                  <a:gd name="connsiteX31" fmla="*/ 1508795 w 8033654"/>
                  <a:gd name="connsiteY31" fmla="*/ 6649661 h 7031915"/>
                  <a:gd name="connsiteX32" fmla="*/ 1508794 w 8033654"/>
                  <a:gd name="connsiteY32" fmla="*/ 6649657 h 7031915"/>
                  <a:gd name="connsiteX33" fmla="*/ 115723 w 8033654"/>
                  <a:gd name="connsiteY33" fmla="*/ 3863519 h 7031915"/>
                  <a:gd name="connsiteX34" fmla="*/ 115722 w 8033654"/>
                  <a:gd name="connsiteY34" fmla="*/ 3863518 h 7031915"/>
                  <a:gd name="connsiteX35" fmla="*/ 29470 w 8033654"/>
                  <a:gd name="connsiteY35" fmla="*/ 3691014 h 7031915"/>
                  <a:gd name="connsiteX36" fmla="*/ 11962 w 8033654"/>
                  <a:gd name="connsiteY36" fmla="*/ 3634608 h 7031915"/>
                  <a:gd name="connsiteX37" fmla="*/ 0 w 8033654"/>
                  <a:gd name="connsiteY37" fmla="*/ 3515957 h 7031915"/>
                  <a:gd name="connsiteX38" fmla="*/ 11962 w 8033654"/>
                  <a:gd name="connsiteY38" fmla="*/ 3397306 h 7031915"/>
                  <a:gd name="connsiteX39" fmla="*/ 29470 w 8033654"/>
                  <a:gd name="connsiteY39" fmla="*/ 3340901 h 7031915"/>
                  <a:gd name="connsiteX40" fmla="*/ 115722 w 8033654"/>
                  <a:gd name="connsiteY40" fmla="*/ 3168396 h 7031915"/>
                  <a:gd name="connsiteX41" fmla="*/ 115723 w 8033654"/>
                  <a:gd name="connsiteY41" fmla="*/ 3168396 h 7031915"/>
                  <a:gd name="connsiteX42" fmla="*/ 1508796 w 8033654"/>
                  <a:gd name="connsiteY42" fmla="*/ 382255 h 7031915"/>
                  <a:gd name="connsiteX43" fmla="*/ 1570174 w 8033654"/>
                  <a:gd name="connsiteY43" fmla="*/ 259499 h 7031915"/>
                  <a:gd name="connsiteX44" fmla="*/ 1642008 w 8033654"/>
                  <a:gd name="connsiteY44" fmla="*/ 172435 h 7031915"/>
                  <a:gd name="connsiteX45" fmla="*/ 1939656 w 8033654"/>
                  <a:gd name="connsiteY45" fmla="*/ 11959 h 7031915"/>
                  <a:gd name="connsiteX46" fmla="*/ 2058287 w 8033654"/>
                  <a:gd name="connsiteY46"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058326 w 8033654"/>
                  <a:gd name="connsiteY25" fmla="*/ 7031915 h 7031915"/>
                  <a:gd name="connsiteX26" fmla="*/ 2058286 w 8033654"/>
                  <a:gd name="connsiteY26" fmla="*/ 7031915 h 7031915"/>
                  <a:gd name="connsiteX27" fmla="*/ 1939655 w 8033654"/>
                  <a:gd name="connsiteY27" fmla="*/ 7019956 h 7031915"/>
                  <a:gd name="connsiteX28" fmla="*/ 1642007 w 8033654"/>
                  <a:gd name="connsiteY28" fmla="*/ 6859480 h 7031915"/>
                  <a:gd name="connsiteX29" fmla="*/ 1570173 w 8033654"/>
                  <a:gd name="connsiteY29" fmla="*/ 6772417 h 7031915"/>
                  <a:gd name="connsiteX30" fmla="*/ 1508795 w 8033654"/>
                  <a:gd name="connsiteY30" fmla="*/ 6649661 h 7031915"/>
                  <a:gd name="connsiteX31" fmla="*/ 1508794 w 8033654"/>
                  <a:gd name="connsiteY31" fmla="*/ 6649657 h 7031915"/>
                  <a:gd name="connsiteX32" fmla="*/ 115723 w 8033654"/>
                  <a:gd name="connsiteY32" fmla="*/ 3863519 h 7031915"/>
                  <a:gd name="connsiteX33" fmla="*/ 115722 w 8033654"/>
                  <a:gd name="connsiteY33" fmla="*/ 3863518 h 7031915"/>
                  <a:gd name="connsiteX34" fmla="*/ 29470 w 8033654"/>
                  <a:gd name="connsiteY34" fmla="*/ 3691014 h 7031915"/>
                  <a:gd name="connsiteX35" fmla="*/ 11962 w 8033654"/>
                  <a:gd name="connsiteY35" fmla="*/ 3634608 h 7031915"/>
                  <a:gd name="connsiteX36" fmla="*/ 0 w 8033654"/>
                  <a:gd name="connsiteY36" fmla="*/ 3515957 h 7031915"/>
                  <a:gd name="connsiteX37" fmla="*/ 11962 w 8033654"/>
                  <a:gd name="connsiteY37" fmla="*/ 3397306 h 7031915"/>
                  <a:gd name="connsiteX38" fmla="*/ 29470 w 8033654"/>
                  <a:gd name="connsiteY38" fmla="*/ 3340901 h 7031915"/>
                  <a:gd name="connsiteX39" fmla="*/ 115722 w 8033654"/>
                  <a:gd name="connsiteY39" fmla="*/ 3168396 h 7031915"/>
                  <a:gd name="connsiteX40" fmla="*/ 115723 w 8033654"/>
                  <a:gd name="connsiteY40" fmla="*/ 3168396 h 7031915"/>
                  <a:gd name="connsiteX41" fmla="*/ 1508796 w 8033654"/>
                  <a:gd name="connsiteY41" fmla="*/ 382255 h 7031915"/>
                  <a:gd name="connsiteX42" fmla="*/ 1570174 w 8033654"/>
                  <a:gd name="connsiteY42" fmla="*/ 259499 h 7031915"/>
                  <a:gd name="connsiteX43" fmla="*/ 1642008 w 8033654"/>
                  <a:gd name="connsiteY43" fmla="*/ 172435 h 7031915"/>
                  <a:gd name="connsiteX44" fmla="*/ 1939656 w 8033654"/>
                  <a:gd name="connsiteY44" fmla="*/ 11959 h 7031915"/>
                  <a:gd name="connsiteX45" fmla="*/ 2058287 w 8033654"/>
                  <a:gd name="connsiteY45"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058326 w 8033654"/>
                  <a:gd name="connsiteY24" fmla="*/ 7031915 h 7031915"/>
                  <a:gd name="connsiteX25" fmla="*/ 2058286 w 8033654"/>
                  <a:gd name="connsiteY25" fmla="*/ 7031915 h 7031915"/>
                  <a:gd name="connsiteX26" fmla="*/ 1939655 w 8033654"/>
                  <a:gd name="connsiteY26" fmla="*/ 7019956 h 7031915"/>
                  <a:gd name="connsiteX27" fmla="*/ 1642007 w 8033654"/>
                  <a:gd name="connsiteY27" fmla="*/ 6859480 h 7031915"/>
                  <a:gd name="connsiteX28" fmla="*/ 1570173 w 8033654"/>
                  <a:gd name="connsiteY28" fmla="*/ 6772417 h 7031915"/>
                  <a:gd name="connsiteX29" fmla="*/ 1508795 w 8033654"/>
                  <a:gd name="connsiteY29" fmla="*/ 6649661 h 7031915"/>
                  <a:gd name="connsiteX30" fmla="*/ 1508794 w 8033654"/>
                  <a:gd name="connsiteY30" fmla="*/ 6649657 h 7031915"/>
                  <a:gd name="connsiteX31" fmla="*/ 115723 w 8033654"/>
                  <a:gd name="connsiteY31" fmla="*/ 3863519 h 7031915"/>
                  <a:gd name="connsiteX32" fmla="*/ 115722 w 8033654"/>
                  <a:gd name="connsiteY32" fmla="*/ 3863518 h 7031915"/>
                  <a:gd name="connsiteX33" fmla="*/ 29470 w 8033654"/>
                  <a:gd name="connsiteY33" fmla="*/ 3691014 h 7031915"/>
                  <a:gd name="connsiteX34" fmla="*/ 11962 w 8033654"/>
                  <a:gd name="connsiteY34" fmla="*/ 3634608 h 7031915"/>
                  <a:gd name="connsiteX35" fmla="*/ 0 w 8033654"/>
                  <a:gd name="connsiteY35" fmla="*/ 3515957 h 7031915"/>
                  <a:gd name="connsiteX36" fmla="*/ 11962 w 8033654"/>
                  <a:gd name="connsiteY36" fmla="*/ 3397306 h 7031915"/>
                  <a:gd name="connsiteX37" fmla="*/ 29470 w 8033654"/>
                  <a:gd name="connsiteY37" fmla="*/ 3340901 h 7031915"/>
                  <a:gd name="connsiteX38" fmla="*/ 115722 w 8033654"/>
                  <a:gd name="connsiteY38" fmla="*/ 3168396 h 7031915"/>
                  <a:gd name="connsiteX39" fmla="*/ 115723 w 8033654"/>
                  <a:gd name="connsiteY39" fmla="*/ 3168396 h 7031915"/>
                  <a:gd name="connsiteX40" fmla="*/ 1508796 w 8033654"/>
                  <a:gd name="connsiteY40" fmla="*/ 382255 h 7031915"/>
                  <a:gd name="connsiteX41" fmla="*/ 1570174 w 8033654"/>
                  <a:gd name="connsiteY41" fmla="*/ 259499 h 7031915"/>
                  <a:gd name="connsiteX42" fmla="*/ 1642008 w 8033654"/>
                  <a:gd name="connsiteY42" fmla="*/ 172435 h 7031915"/>
                  <a:gd name="connsiteX43" fmla="*/ 1939656 w 8033654"/>
                  <a:gd name="connsiteY43" fmla="*/ 11959 h 7031915"/>
                  <a:gd name="connsiteX44" fmla="*/ 2058287 w 8033654"/>
                  <a:gd name="connsiteY44"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482456 w 8033654"/>
                  <a:gd name="connsiteY18" fmla="*/ 6736229 h 7031915"/>
                  <a:gd name="connsiteX19" fmla="*/ 6090371 w 8033654"/>
                  <a:gd name="connsiteY19" fmla="*/ 7019956 h 7031915"/>
                  <a:gd name="connsiteX20" fmla="*/ 5971740 w 8033654"/>
                  <a:gd name="connsiteY20" fmla="*/ 7031915 h 7031915"/>
                  <a:gd name="connsiteX21" fmla="*/ 5971700 w 8033654"/>
                  <a:gd name="connsiteY21" fmla="*/ 7031915 h 7031915"/>
                  <a:gd name="connsiteX22" fmla="*/ 2058326 w 8033654"/>
                  <a:gd name="connsiteY22" fmla="*/ 7031915 h 7031915"/>
                  <a:gd name="connsiteX23" fmla="*/ 2058326 w 8033654"/>
                  <a:gd name="connsiteY23" fmla="*/ 7031915 h 7031915"/>
                  <a:gd name="connsiteX24" fmla="*/ 2058286 w 8033654"/>
                  <a:gd name="connsiteY24" fmla="*/ 7031915 h 7031915"/>
                  <a:gd name="connsiteX25" fmla="*/ 1939655 w 8033654"/>
                  <a:gd name="connsiteY25" fmla="*/ 7019956 h 7031915"/>
                  <a:gd name="connsiteX26" fmla="*/ 1642007 w 8033654"/>
                  <a:gd name="connsiteY26" fmla="*/ 6859480 h 7031915"/>
                  <a:gd name="connsiteX27" fmla="*/ 1570173 w 8033654"/>
                  <a:gd name="connsiteY27" fmla="*/ 6772417 h 7031915"/>
                  <a:gd name="connsiteX28" fmla="*/ 1508795 w 8033654"/>
                  <a:gd name="connsiteY28" fmla="*/ 6649661 h 7031915"/>
                  <a:gd name="connsiteX29" fmla="*/ 1508794 w 8033654"/>
                  <a:gd name="connsiteY29" fmla="*/ 6649657 h 7031915"/>
                  <a:gd name="connsiteX30" fmla="*/ 115723 w 8033654"/>
                  <a:gd name="connsiteY30" fmla="*/ 3863519 h 7031915"/>
                  <a:gd name="connsiteX31" fmla="*/ 115722 w 8033654"/>
                  <a:gd name="connsiteY31" fmla="*/ 3863518 h 7031915"/>
                  <a:gd name="connsiteX32" fmla="*/ 29470 w 8033654"/>
                  <a:gd name="connsiteY32" fmla="*/ 3691014 h 7031915"/>
                  <a:gd name="connsiteX33" fmla="*/ 11962 w 8033654"/>
                  <a:gd name="connsiteY33" fmla="*/ 3634608 h 7031915"/>
                  <a:gd name="connsiteX34" fmla="*/ 0 w 8033654"/>
                  <a:gd name="connsiteY34" fmla="*/ 3515957 h 7031915"/>
                  <a:gd name="connsiteX35" fmla="*/ 11962 w 8033654"/>
                  <a:gd name="connsiteY35" fmla="*/ 3397306 h 7031915"/>
                  <a:gd name="connsiteX36" fmla="*/ 29470 w 8033654"/>
                  <a:gd name="connsiteY36" fmla="*/ 3340901 h 7031915"/>
                  <a:gd name="connsiteX37" fmla="*/ 115722 w 8033654"/>
                  <a:gd name="connsiteY37" fmla="*/ 3168396 h 7031915"/>
                  <a:gd name="connsiteX38" fmla="*/ 115723 w 8033654"/>
                  <a:gd name="connsiteY38" fmla="*/ 3168396 h 7031915"/>
                  <a:gd name="connsiteX39" fmla="*/ 1508796 w 8033654"/>
                  <a:gd name="connsiteY39" fmla="*/ 382255 h 7031915"/>
                  <a:gd name="connsiteX40" fmla="*/ 1570174 w 8033654"/>
                  <a:gd name="connsiteY40" fmla="*/ 259499 h 7031915"/>
                  <a:gd name="connsiteX41" fmla="*/ 1642008 w 8033654"/>
                  <a:gd name="connsiteY41" fmla="*/ 172435 h 7031915"/>
                  <a:gd name="connsiteX42" fmla="*/ 1939656 w 8033654"/>
                  <a:gd name="connsiteY42" fmla="*/ 11959 h 7031915"/>
                  <a:gd name="connsiteX43" fmla="*/ 2058287 w 8033654"/>
                  <a:gd name="connsiteY43"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482456 w 8033654"/>
                  <a:gd name="connsiteY17" fmla="*/ 6736229 h 7031915"/>
                  <a:gd name="connsiteX18" fmla="*/ 6090371 w 8033654"/>
                  <a:gd name="connsiteY18" fmla="*/ 7019956 h 7031915"/>
                  <a:gd name="connsiteX19" fmla="*/ 5971740 w 8033654"/>
                  <a:gd name="connsiteY19" fmla="*/ 7031915 h 7031915"/>
                  <a:gd name="connsiteX20" fmla="*/ 5971700 w 8033654"/>
                  <a:gd name="connsiteY20" fmla="*/ 7031915 h 7031915"/>
                  <a:gd name="connsiteX21" fmla="*/ 2058326 w 8033654"/>
                  <a:gd name="connsiteY21" fmla="*/ 7031915 h 7031915"/>
                  <a:gd name="connsiteX22" fmla="*/ 2058326 w 8033654"/>
                  <a:gd name="connsiteY22" fmla="*/ 7031915 h 7031915"/>
                  <a:gd name="connsiteX23" fmla="*/ 2058286 w 8033654"/>
                  <a:gd name="connsiteY23" fmla="*/ 7031915 h 7031915"/>
                  <a:gd name="connsiteX24" fmla="*/ 1939655 w 8033654"/>
                  <a:gd name="connsiteY24" fmla="*/ 7019956 h 7031915"/>
                  <a:gd name="connsiteX25" fmla="*/ 1642007 w 8033654"/>
                  <a:gd name="connsiteY25" fmla="*/ 6859480 h 7031915"/>
                  <a:gd name="connsiteX26" fmla="*/ 1570173 w 8033654"/>
                  <a:gd name="connsiteY26" fmla="*/ 6772417 h 7031915"/>
                  <a:gd name="connsiteX27" fmla="*/ 1508795 w 8033654"/>
                  <a:gd name="connsiteY27" fmla="*/ 6649661 h 7031915"/>
                  <a:gd name="connsiteX28" fmla="*/ 1508794 w 8033654"/>
                  <a:gd name="connsiteY28" fmla="*/ 6649657 h 7031915"/>
                  <a:gd name="connsiteX29" fmla="*/ 115723 w 8033654"/>
                  <a:gd name="connsiteY29" fmla="*/ 3863519 h 7031915"/>
                  <a:gd name="connsiteX30" fmla="*/ 115722 w 8033654"/>
                  <a:gd name="connsiteY30" fmla="*/ 3863518 h 7031915"/>
                  <a:gd name="connsiteX31" fmla="*/ 29470 w 8033654"/>
                  <a:gd name="connsiteY31" fmla="*/ 3691014 h 7031915"/>
                  <a:gd name="connsiteX32" fmla="*/ 11962 w 8033654"/>
                  <a:gd name="connsiteY32" fmla="*/ 3634608 h 7031915"/>
                  <a:gd name="connsiteX33" fmla="*/ 0 w 8033654"/>
                  <a:gd name="connsiteY33" fmla="*/ 3515957 h 7031915"/>
                  <a:gd name="connsiteX34" fmla="*/ 11962 w 8033654"/>
                  <a:gd name="connsiteY34" fmla="*/ 3397306 h 7031915"/>
                  <a:gd name="connsiteX35" fmla="*/ 29470 w 8033654"/>
                  <a:gd name="connsiteY35" fmla="*/ 3340901 h 7031915"/>
                  <a:gd name="connsiteX36" fmla="*/ 115722 w 8033654"/>
                  <a:gd name="connsiteY36" fmla="*/ 3168396 h 7031915"/>
                  <a:gd name="connsiteX37" fmla="*/ 115723 w 8033654"/>
                  <a:gd name="connsiteY37" fmla="*/ 3168396 h 7031915"/>
                  <a:gd name="connsiteX38" fmla="*/ 1508796 w 8033654"/>
                  <a:gd name="connsiteY38" fmla="*/ 382255 h 7031915"/>
                  <a:gd name="connsiteX39" fmla="*/ 1570174 w 8033654"/>
                  <a:gd name="connsiteY39" fmla="*/ 259499 h 7031915"/>
                  <a:gd name="connsiteX40" fmla="*/ 1642008 w 8033654"/>
                  <a:gd name="connsiteY40" fmla="*/ 172435 h 7031915"/>
                  <a:gd name="connsiteX41" fmla="*/ 1939656 w 8033654"/>
                  <a:gd name="connsiteY41" fmla="*/ 11959 h 7031915"/>
                  <a:gd name="connsiteX42" fmla="*/ 2058287 w 8033654"/>
                  <a:gd name="connsiteY42"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7949332 w 8033654"/>
                  <a:gd name="connsiteY9" fmla="*/ 3216682 h 7031915"/>
                  <a:gd name="connsiteX10" fmla="*/ 7992299 w 8033654"/>
                  <a:gd name="connsiteY10" fmla="*/ 3302616 h 7031915"/>
                  <a:gd name="connsiteX11" fmla="*/ 8021693 w 8033654"/>
                  <a:gd name="connsiteY11" fmla="*/ 3397306 h 7031915"/>
                  <a:gd name="connsiteX12" fmla="*/ 8033654 w 8033654"/>
                  <a:gd name="connsiteY12" fmla="*/ 3515957 h 7031915"/>
                  <a:gd name="connsiteX13" fmla="*/ 8021693 w 8033654"/>
                  <a:gd name="connsiteY13" fmla="*/ 3634608 h 7031915"/>
                  <a:gd name="connsiteX14" fmla="*/ 7992299 w 8033654"/>
                  <a:gd name="connsiteY14" fmla="*/ 3729298 h 7031915"/>
                  <a:gd name="connsiteX15" fmla="*/ 7949332 w 8033654"/>
                  <a:gd name="connsiteY15" fmla="*/ 3815232 h 7031915"/>
                  <a:gd name="connsiteX16" fmla="*/ 6482456 w 8033654"/>
                  <a:gd name="connsiteY16" fmla="*/ 6736229 h 7031915"/>
                  <a:gd name="connsiteX17" fmla="*/ 6090371 w 8033654"/>
                  <a:gd name="connsiteY17" fmla="*/ 7019956 h 7031915"/>
                  <a:gd name="connsiteX18" fmla="*/ 5971740 w 8033654"/>
                  <a:gd name="connsiteY18" fmla="*/ 7031915 h 7031915"/>
                  <a:gd name="connsiteX19" fmla="*/ 5971700 w 8033654"/>
                  <a:gd name="connsiteY19" fmla="*/ 7031915 h 7031915"/>
                  <a:gd name="connsiteX20" fmla="*/ 2058326 w 8033654"/>
                  <a:gd name="connsiteY20" fmla="*/ 7031915 h 7031915"/>
                  <a:gd name="connsiteX21" fmla="*/ 2058326 w 8033654"/>
                  <a:gd name="connsiteY21" fmla="*/ 7031915 h 7031915"/>
                  <a:gd name="connsiteX22" fmla="*/ 2058286 w 8033654"/>
                  <a:gd name="connsiteY22" fmla="*/ 7031915 h 7031915"/>
                  <a:gd name="connsiteX23" fmla="*/ 1939655 w 8033654"/>
                  <a:gd name="connsiteY23" fmla="*/ 7019956 h 7031915"/>
                  <a:gd name="connsiteX24" fmla="*/ 1642007 w 8033654"/>
                  <a:gd name="connsiteY24" fmla="*/ 6859480 h 7031915"/>
                  <a:gd name="connsiteX25" fmla="*/ 1570173 w 8033654"/>
                  <a:gd name="connsiteY25" fmla="*/ 6772417 h 7031915"/>
                  <a:gd name="connsiteX26" fmla="*/ 1508795 w 8033654"/>
                  <a:gd name="connsiteY26" fmla="*/ 6649661 h 7031915"/>
                  <a:gd name="connsiteX27" fmla="*/ 1508794 w 8033654"/>
                  <a:gd name="connsiteY27" fmla="*/ 6649657 h 7031915"/>
                  <a:gd name="connsiteX28" fmla="*/ 115723 w 8033654"/>
                  <a:gd name="connsiteY28" fmla="*/ 3863519 h 7031915"/>
                  <a:gd name="connsiteX29" fmla="*/ 115722 w 8033654"/>
                  <a:gd name="connsiteY29" fmla="*/ 3863518 h 7031915"/>
                  <a:gd name="connsiteX30" fmla="*/ 29470 w 8033654"/>
                  <a:gd name="connsiteY30" fmla="*/ 3691014 h 7031915"/>
                  <a:gd name="connsiteX31" fmla="*/ 11962 w 8033654"/>
                  <a:gd name="connsiteY31" fmla="*/ 3634608 h 7031915"/>
                  <a:gd name="connsiteX32" fmla="*/ 0 w 8033654"/>
                  <a:gd name="connsiteY32" fmla="*/ 3515957 h 7031915"/>
                  <a:gd name="connsiteX33" fmla="*/ 11962 w 8033654"/>
                  <a:gd name="connsiteY33" fmla="*/ 3397306 h 7031915"/>
                  <a:gd name="connsiteX34" fmla="*/ 29470 w 8033654"/>
                  <a:gd name="connsiteY34" fmla="*/ 3340901 h 7031915"/>
                  <a:gd name="connsiteX35" fmla="*/ 115722 w 8033654"/>
                  <a:gd name="connsiteY35" fmla="*/ 3168396 h 7031915"/>
                  <a:gd name="connsiteX36" fmla="*/ 115723 w 8033654"/>
                  <a:gd name="connsiteY36" fmla="*/ 3168396 h 7031915"/>
                  <a:gd name="connsiteX37" fmla="*/ 1508796 w 8033654"/>
                  <a:gd name="connsiteY37" fmla="*/ 382255 h 7031915"/>
                  <a:gd name="connsiteX38" fmla="*/ 1570174 w 8033654"/>
                  <a:gd name="connsiteY38" fmla="*/ 259499 h 7031915"/>
                  <a:gd name="connsiteX39" fmla="*/ 1642008 w 8033654"/>
                  <a:gd name="connsiteY39" fmla="*/ 172435 h 7031915"/>
                  <a:gd name="connsiteX40" fmla="*/ 1939656 w 8033654"/>
                  <a:gd name="connsiteY40" fmla="*/ 11959 h 7031915"/>
                  <a:gd name="connsiteX41" fmla="*/ 2058287 w 8033654"/>
                  <a:gd name="connsiteY41" fmla="*/ 0 h 703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33654" h="7031915">
                    <a:moveTo>
                      <a:pt x="2058287" y="0"/>
                    </a:moveTo>
                    <a:lnTo>
                      <a:pt x="2058326" y="0"/>
                    </a:lnTo>
                    <a:lnTo>
                      <a:pt x="5971699" y="0"/>
                    </a:lnTo>
                    <a:lnTo>
                      <a:pt x="5971700" y="0"/>
                    </a:lnTo>
                    <a:lnTo>
                      <a:pt x="5971740" y="0"/>
                    </a:lnTo>
                    <a:lnTo>
                      <a:pt x="6090371" y="11959"/>
                    </a:lnTo>
                    <a:cubicBezTo>
                      <a:pt x="6190975" y="32545"/>
                      <a:pt x="6282232" y="78792"/>
                      <a:pt x="6357004" y="143562"/>
                    </a:cubicBezTo>
                    <a:lnTo>
                      <a:pt x="6421756" y="209878"/>
                    </a:lnTo>
                    <a:lnTo>
                      <a:pt x="6426018" y="214243"/>
                    </a:lnTo>
                    <a:lnTo>
                      <a:pt x="7949332" y="3216682"/>
                    </a:lnTo>
                    <a:lnTo>
                      <a:pt x="7992299" y="3302616"/>
                    </a:lnTo>
                    <a:lnTo>
                      <a:pt x="8021693" y="3397306"/>
                    </a:lnTo>
                    <a:cubicBezTo>
                      <a:pt x="8029535" y="3435632"/>
                      <a:pt x="8033654" y="3475313"/>
                      <a:pt x="8033654" y="3515957"/>
                    </a:cubicBezTo>
                    <a:cubicBezTo>
                      <a:pt x="8033654" y="3556601"/>
                      <a:pt x="8029535" y="3596283"/>
                      <a:pt x="8021693" y="3634608"/>
                    </a:cubicBezTo>
                    <a:lnTo>
                      <a:pt x="7992299" y="3729298"/>
                    </a:lnTo>
                    <a:lnTo>
                      <a:pt x="7949332" y="3815232"/>
                    </a:lnTo>
                    <a:lnTo>
                      <a:pt x="6482456" y="6736229"/>
                    </a:lnTo>
                    <a:cubicBezTo>
                      <a:pt x="6399753" y="6880056"/>
                      <a:pt x="6258044" y="6985646"/>
                      <a:pt x="6090371" y="7019956"/>
                    </a:cubicBezTo>
                    <a:lnTo>
                      <a:pt x="5971740" y="7031915"/>
                    </a:lnTo>
                    <a:lnTo>
                      <a:pt x="5971700" y="7031915"/>
                    </a:lnTo>
                    <a:lnTo>
                      <a:pt x="2058326" y="7031915"/>
                    </a:lnTo>
                    <a:lnTo>
                      <a:pt x="2058326" y="7031915"/>
                    </a:lnTo>
                    <a:lnTo>
                      <a:pt x="2058286" y="7031915"/>
                    </a:lnTo>
                    <a:lnTo>
                      <a:pt x="1939655" y="7019956"/>
                    </a:lnTo>
                    <a:cubicBezTo>
                      <a:pt x="1824680" y="6996429"/>
                      <a:pt x="1721912" y="6939386"/>
                      <a:pt x="1642007" y="6859480"/>
                    </a:cubicBezTo>
                    <a:lnTo>
                      <a:pt x="1570173" y="6772417"/>
                    </a:lnTo>
                    <a:lnTo>
                      <a:pt x="1508795" y="6649661"/>
                    </a:lnTo>
                    <a:cubicBezTo>
                      <a:pt x="1508795" y="6649660"/>
                      <a:pt x="1508794" y="6649658"/>
                      <a:pt x="1508794" y="6649657"/>
                    </a:cubicBezTo>
                    <a:lnTo>
                      <a:pt x="115723" y="3863519"/>
                    </a:lnTo>
                    <a:lnTo>
                      <a:pt x="115722" y="3863518"/>
                    </a:lnTo>
                    <a:lnTo>
                      <a:pt x="29470" y="3691014"/>
                    </a:lnTo>
                    <a:lnTo>
                      <a:pt x="11962" y="3634608"/>
                    </a:lnTo>
                    <a:cubicBezTo>
                      <a:pt x="4119" y="3596283"/>
                      <a:pt x="0" y="3556601"/>
                      <a:pt x="0" y="3515957"/>
                    </a:cubicBezTo>
                    <a:cubicBezTo>
                      <a:pt x="0" y="3475313"/>
                      <a:pt x="4119" y="3435632"/>
                      <a:pt x="11962" y="3397306"/>
                    </a:cubicBezTo>
                    <a:lnTo>
                      <a:pt x="29470" y="3340901"/>
                    </a:lnTo>
                    <a:lnTo>
                      <a:pt x="115722" y="3168396"/>
                    </a:lnTo>
                    <a:lnTo>
                      <a:pt x="115723" y="3168396"/>
                    </a:lnTo>
                    <a:lnTo>
                      <a:pt x="1508796" y="382255"/>
                    </a:lnTo>
                    <a:lnTo>
                      <a:pt x="1570174" y="259499"/>
                    </a:lnTo>
                    <a:lnTo>
                      <a:pt x="1642008" y="172435"/>
                    </a:lnTo>
                    <a:cubicBezTo>
                      <a:pt x="1721913" y="92530"/>
                      <a:pt x="1824680" y="35486"/>
                      <a:pt x="1939656" y="11959"/>
                    </a:cubicBezTo>
                    <a:lnTo>
                      <a:pt x="2058287" y="0"/>
                    </a:lnTo>
                    <a:close/>
                  </a:path>
                </a:pathLst>
              </a:custGeom>
              <a:noFill/>
              <a:ln w="381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21" name="iṡļîḋé">
                <a:extLst>
                  <a:ext uri="{FF2B5EF4-FFF2-40B4-BE49-F238E27FC236}">
                    <a16:creationId xmlns:a16="http://schemas.microsoft.com/office/drawing/2014/main" id="{86724516-C5EE-4B63-8442-66AD97355A12}"/>
                  </a:ext>
                </a:extLst>
              </p:cNvPr>
              <p:cNvSpPr/>
              <p:nvPr/>
            </p:nvSpPr>
            <p:spPr>
              <a:xfrm>
                <a:off x="2091159" y="4863040"/>
                <a:ext cx="839718" cy="30493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400" dirty="0">
                    <a:solidFill>
                      <a:schemeClr val="bg1"/>
                    </a:solidFill>
                  </a:rPr>
                  <a:t>02</a:t>
                </a:r>
                <a:endParaRPr lang="zh-CN" altLang="en-US" sz="1400" dirty="0">
                  <a:solidFill>
                    <a:schemeClr val="bg1"/>
                  </a:solidFill>
                </a:endParaRPr>
              </a:p>
            </p:txBody>
          </p:sp>
          <p:sp>
            <p:nvSpPr>
              <p:cNvPr id="22" name="ïśļîḓe">
                <a:extLst>
                  <a:ext uri="{FF2B5EF4-FFF2-40B4-BE49-F238E27FC236}">
                    <a16:creationId xmlns:a16="http://schemas.microsoft.com/office/drawing/2014/main" id="{9544521C-254D-44D7-8CAF-A709EB23C3A9}"/>
                  </a:ext>
                </a:extLst>
              </p:cNvPr>
              <p:cNvSpPr/>
              <p:nvPr/>
            </p:nvSpPr>
            <p:spPr bwMode="auto">
              <a:xfrm>
                <a:off x="2306266" y="2389675"/>
                <a:ext cx="409502" cy="435610"/>
              </a:xfrm>
              <a:custGeom>
                <a:avLst/>
                <a:gdLst>
                  <a:gd name="connsiteX0" fmla="*/ 283988 w 567904"/>
                  <a:gd name="connsiteY0" fmla="*/ 165481 h 604115"/>
                  <a:gd name="connsiteX1" fmla="*/ 299163 w 567904"/>
                  <a:gd name="connsiteY1" fmla="*/ 180516 h 604115"/>
                  <a:gd name="connsiteX2" fmla="*/ 299163 w 567904"/>
                  <a:gd name="connsiteY2" fmla="*/ 272309 h 604115"/>
                  <a:gd name="connsiteX3" fmla="*/ 307657 w 567904"/>
                  <a:gd name="connsiteY3" fmla="*/ 280788 h 604115"/>
                  <a:gd name="connsiteX4" fmla="*/ 366094 w 567904"/>
                  <a:gd name="connsiteY4" fmla="*/ 280788 h 604115"/>
                  <a:gd name="connsiteX5" fmla="*/ 381156 w 567904"/>
                  <a:gd name="connsiteY5" fmla="*/ 295936 h 604115"/>
                  <a:gd name="connsiteX6" fmla="*/ 366094 w 567904"/>
                  <a:gd name="connsiteY6" fmla="*/ 310971 h 604115"/>
                  <a:gd name="connsiteX7" fmla="*/ 307657 w 567904"/>
                  <a:gd name="connsiteY7" fmla="*/ 310971 h 604115"/>
                  <a:gd name="connsiteX8" fmla="*/ 283988 w 567904"/>
                  <a:gd name="connsiteY8" fmla="*/ 323971 h 604115"/>
                  <a:gd name="connsiteX9" fmla="*/ 255902 w 567904"/>
                  <a:gd name="connsiteY9" fmla="*/ 295936 h 604115"/>
                  <a:gd name="connsiteX10" fmla="*/ 268926 w 567904"/>
                  <a:gd name="connsiteY10" fmla="*/ 272309 h 604115"/>
                  <a:gd name="connsiteX11" fmla="*/ 268926 w 567904"/>
                  <a:gd name="connsiteY11" fmla="*/ 180516 h 604115"/>
                  <a:gd name="connsiteX12" fmla="*/ 283988 w 567904"/>
                  <a:gd name="connsiteY12" fmla="*/ 165481 h 604115"/>
                  <a:gd name="connsiteX13" fmla="*/ 268839 w 567904"/>
                  <a:gd name="connsiteY13" fmla="*/ 63180 h 604115"/>
                  <a:gd name="connsiteX14" fmla="*/ 131858 w 567904"/>
                  <a:gd name="connsiteY14" fmla="*/ 122631 h 604115"/>
                  <a:gd name="connsiteX15" fmla="*/ 178160 w 567904"/>
                  <a:gd name="connsiteY15" fmla="*/ 168971 h 604115"/>
                  <a:gd name="connsiteX16" fmla="*/ 178160 w 567904"/>
                  <a:gd name="connsiteY16" fmla="*/ 190220 h 604115"/>
                  <a:gd name="connsiteX17" fmla="*/ 167518 w 567904"/>
                  <a:gd name="connsiteY17" fmla="*/ 194628 h 604115"/>
                  <a:gd name="connsiteX18" fmla="*/ 156877 w 567904"/>
                  <a:gd name="connsiteY18" fmla="*/ 190220 h 604115"/>
                  <a:gd name="connsiteX19" fmla="*/ 111254 w 567904"/>
                  <a:gd name="connsiteY19" fmla="*/ 144671 h 604115"/>
                  <a:gd name="connsiteX20" fmla="*/ 61216 w 567904"/>
                  <a:gd name="connsiteY20" fmla="*/ 280752 h 604115"/>
                  <a:gd name="connsiteX21" fmla="*/ 119292 w 567904"/>
                  <a:gd name="connsiteY21" fmla="*/ 280752 h 604115"/>
                  <a:gd name="connsiteX22" fmla="*/ 134348 w 567904"/>
                  <a:gd name="connsiteY22" fmla="*/ 295898 h 604115"/>
                  <a:gd name="connsiteX23" fmla="*/ 119292 w 567904"/>
                  <a:gd name="connsiteY23" fmla="*/ 310930 h 604115"/>
                  <a:gd name="connsiteX24" fmla="*/ 62688 w 567904"/>
                  <a:gd name="connsiteY24" fmla="*/ 310930 h 604115"/>
                  <a:gd name="connsiteX25" fmla="*/ 121330 w 567904"/>
                  <a:gd name="connsiteY25" fmla="*/ 436952 h 604115"/>
                  <a:gd name="connsiteX26" fmla="*/ 156877 w 567904"/>
                  <a:gd name="connsiteY26" fmla="*/ 401462 h 604115"/>
                  <a:gd name="connsiteX27" fmla="*/ 178160 w 567904"/>
                  <a:gd name="connsiteY27" fmla="*/ 401462 h 604115"/>
                  <a:gd name="connsiteX28" fmla="*/ 178160 w 567904"/>
                  <a:gd name="connsiteY28" fmla="*/ 422824 h 604115"/>
                  <a:gd name="connsiteX29" fmla="*/ 143405 w 567904"/>
                  <a:gd name="connsiteY29" fmla="*/ 457523 h 604115"/>
                  <a:gd name="connsiteX30" fmla="*/ 268839 w 567904"/>
                  <a:gd name="connsiteY30" fmla="*/ 507027 h 604115"/>
                  <a:gd name="connsiteX31" fmla="*/ 268839 w 567904"/>
                  <a:gd name="connsiteY31" fmla="*/ 460235 h 604115"/>
                  <a:gd name="connsiteX32" fmla="*/ 284009 w 567904"/>
                  <a:gd name="connsiteY32" fmla="*/ 445203 h 604115"/>
                  <a:gd name="connsiteX33" fmla="*/ 299065 w 567904"/>
                  <a:gd name="connsiteY33" fmla="*/ 460235 h 604115"/>
                  <a:gd name="connsiteX34" fmla="*/ 299065 w 567904"/>
                  <a:gd name="connsiteY34" fmla="*/ 507027 h 604115"/>
                  <a:gd name="connsiteX35" fmla="*/ 424612 w 567904"/>
                  <a:gd name="connsiteY35" fmla="*/ 457523 h 604115"/>
                  <a:gd name="connsiteX36" fmla="*/ 389744 w 567904"/>
                  <a:gd name="connsiteY36" fmla="*/ 422824 h 604115"/>
                  <a:gd name="connsiteX37" fmla="*/ 389744 w 567904"/>
                  <a:gd name="connsiteY37" fmla="*/ 401462 h 604115"/>
                  <a:gd name="connsiteX38" fmla="*/ 411141 w 567904"/>
                  <a:gd name="connsiteY38" fmla="*/ 401462 h 604115"/>
                  <a:gd name="connsiteX39" fmla="*/ 446688 w 567904"/>
                  <a:gd name="connsiteY39" fmla="*/ 436952 h 604115"/>
                  <a:gd name="connsiteX40" fmla="*/ 505329 w 567904"/>
                  <a:gd name="connsiteY40" fmla="*/ 310930 h 604115"/>
                  <a:gd name="connsiteX41" fmla="*/ 448612 w 567904"/>
                  <a:gd name="connsiteY41" fmla="*/ 310930 h 604115"/>
                  <a:gd name="connsiteX42" fmla="*/ 433556 w 567904"/>
                  <a:gd name="connsiteY42" fmla="*/ 295898 h 604115"/>
                  <a:gd name="connsiteX43" fmla="*/ 448612 w 567904"/>
                  <a:gd name="connsiteY43" fmla="*/ 280752 h 604115"/>
                  <a:gd name="connsiteX44" fmla="*/ 506801 w 567904"/>
                  <a:gd name="connsiteY44" fmla="*/ 280752 h 604115"/>
                  <a:gd name="connsiteX45" fmla="*/ 456650 w 567904"/>
                  <a:gd name="connsiteY45" fmla="*/ 144671 h 604115"/>
                  <a:gd name="connsiteX46" fmla="*/ 411141 w 567904"/>
                  <a:gd name="connsiteY46" fmla="*/ 190220 h 604115"/>
                  <a:gd name="connsiteX47" fmla="*/ 400386 w 567904"/>
                  <a:gd name="connsiteY47" fmla="*/ 194628 h 604115"/>
                  <a:gd name="connsiteX48" fmla="*/ 389744 w 567904"/>
                  <a:gd name="connsiteY48" fmla="*/ 190220 h 604115"/>
                  <a:gd name="connsiteX49" fmla="*/ 389744 w 567904"/>
                  <a:gd name="connsiteY49" fmla="*/ 168971 h 604115"/>
                  <a:gd name="connsiteX50" fmla="*/ 436046 w 567904"/>
                  <a:gd name="connsiteY50" fmla="*/ 122631 h 604115"/>
                  <a:gd name="connsiteX51" fmla="*/ 299065 w 567904"/>
                  <a:gd name="connsiteY51" fmla="*/ 63180 h 604115"/>
                  <a:gd name="connsiteX52" fmla="*/ 299065 w 567904"/>
                  <a:gd name="connsiteY52" fmla="*/ 131447 h 604115"/>
                  <a:gd name="connsiteX53" fmla="*/ 284009 w 567904"/>
                  <a:gd name="connsiteY53" fmla="*/ 146479 h 604115"/>
                  <a:gd name="connsiteX54" fmla="*/ 268839 w 567904"/>
                  <a:gd name="connsiteY54" fmla="*/ 131447 h 604115"/>
                  <a:gd name="connsiteX55" fmla="*/ 90594 w 567904"/>
                  <a:gd name="connsiteY55" fmla="*/ 0 h 604115"/>
                  <a:gd name="connsiteX56" fmla="*/ 154613 w 567904"/>
                  <a:gd name="connsiteY56" fmla="*/ 26448 h 604115"/>
                  <a:gd name="connsiteX57" fmla="*/ 125179 w 567904"/>
                  <a:gd name="connsiteY57" fmla="*/ 55947 h 604115"/>
                  <a:gd name="connsiteX58" fmla="*/ 284009 w 567904"/>
                  <a:gd name="connsiteY58" fmla="*/ 6329 h 604115"/>
                  <a:gd name="connsiteX59" fmla="*/ 442839 w 567904"/>
                  <a:gd name="connsiteY59" fmla="*/ 55947 h 604115"/>
                  <a:gd name="connsiteX60" fmla="*/ 413291 w 567904"/>
                  <a:gd name="connsiteY60" fmla="*/ 26448 h 604115"/>
                  <a:gd name="connsiteX61" fmla="*/ 541329 w 567904"/>
                  <a:gd name="connsiteY61" fmla="*/ 26448 h 604115"/>
                  <a:gd name="connsiteX62" fmla="*/ 541329 w 567904"/>
                  <a:gd name="connsiteY62" fmla="*/ 154391 h 604115"/>
                  <a:gd name="connsiteX63" fmla="*/ 513480 w 567904"/>
                  <a:gd name="connsiteY63" fmla="*/ 126474 h 604115"/>
                  <a:gd name="connsiteX64" fmla="*/ 563178 w 567904"/>
                  <a:gd name="connsiteY64" fmla="*/ 285160 h 604115"/>
                  <a:gd name="connsiteX65" fmla="*/ 441593 w 567904"/>
                  <a:gd name="connsiteY65" fmla="*/ 515052 h 604115"/>
                  <a:gd name="connsiteX66" fmla="*/ 492197 w 567904"/>
                  <a:gd name="connsiteY66" fmla="*/ 565574 h 604115"/>
                  <a:gd name="connsiteX67" fmla="*/ 492197 w 567904"/>
                  <a:gd name="connsiteY67" fmla="*/ 597560 h 604115"/>
                  <a:gd name="connsiteX68" fmla="*/ 476235 w 567904"/>
                  <a:gd name="connsiteY68" fmla="*/ 604115 h 604115"/>
                  <a:gd name="connsiteX69" fmla="*/ 460159 w 567904"/>
                  <a:gd name="connsiteY69" fmla="*/ 597560 h 604115"/>
                  <a:gd name="connsiteX70" fmla="*/ 400839 w 567904"/>
                  <a:gd name="connsiteY70" fmla="*/ 538222 h 604115"/>
                  <a:gd name="connsiteX71" fmla="*/ 284009 w 567904"/>
                  <a:gd name="connsiteY71" fmla="*/ 563878 h 604115"/>
                  <a:gd name="connsiteX72" fmla="*/ 167065 w 567904"/>
                  <a:gd name="connsiteY72" fmla="*/ 538222 h 604115"/>
                  <a:gd name="connsiteX73" fmla="*/ 107745 w 567904"/>
                  <a:gd name="connsiteY73" fmla="*/ 597560 h 604115"/>
                  <a:gd name="connsiteX74" fmla="*/ 91782 w 567904"/>
                  <a:gd name="connsiteY74" fmla="*/ 604115 h 604115"/>
                  <a:gd name="connsiteX75" fmla="*/ 75707 w 567904"/>
                  <a:gd name="connsiteY75" fmla="*/ 597560 h 604115"/>
                  <a:gd name="connsiteX76" fmla="*/ 75707 w 567904"/>
                  <a:gd name="connsiteY76" fmla="*/ 565574 h 604115"/>
                  <a:gd name="connsiteX77" fmla="*/ 126311 w 567904"/>
                  <a:gd name="connsiteY77" fmla="*/ 515052 h 604115"/>
                  <a:gd name="connsiteX78" fmla="*/ 4726 w 567904"/>
                  <a:gd name="connsiteY78" fmla="*/ 285160 h 604115"/>
                  <a:gd name="connsiteX79" fmla="*/ 54424 w 567904"/>
                  <a:gd name="connsiteY79" fmla="*/ 126474 h 604115"/>
                  <a:gd name="connsiteX80" fmla="*/ 26575 w 567904"/>
                  <a:gd name="connsiteY80" fmla="*/ 154391 h 604115"/>
                  <a:gd name="connsiteX81" fmla="*/ 26575 w 567904"/>
                  <a:gd name="connsiteY81" fmla="*/ 26448 h 604115"/>
                  <a:gd name="connsiteX82" fmla="*/ 90594 w 567904"/>
                  <a:gd name="connsiteY82" fmla="*/ 0 h 6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67904" h="604115">
                    <a:moveTo>
                      <a:pt x="283988" y="165481"/>
                    </a:moveTo>
                    <a:cubicBezTo>
                      <a:pt x="292368" y="165481"/>
                      <a:pt x="299163" y="172264"/>
                      <a:pt x="299163" y="180516"/>
                    </a:cubicBezTo>
                    <a:lnTo>
                      <a:pt x="299163" y="272309"/>
                    </a:lnTo>
                    <a:cubicBezTo>
                      <a:pt x="302561" y="274457"/>
                      <a:pt x="305505" y="277396"/>
                      <a:pt x="307657" y="280788"/>
                    </a:cubicBezTo>
                    <a:lnTo>
                      <a:pt x="366094" y="280788"/>
                    </a:lnTo>
                    <a:cubicBezTo>
                      <a:pt x="374474" y="280788"/>
                      <a:pt x="381156" y="287570"/>
                      <a:pt x="381156" y="295936"/>
                    </a:cubicBezTo>
                    <a:cubicBezTo>
                      <a:pt x="381156" y="304188"/>
                      <a:pt x="374474" y="310971"/>
                      <a:pt x="366094" y="310971"/>
                    </a:cubicBezTo>
                    <a:lnTo>
                      <a:pt x="307657" y="310971"/>
                    </a:lnTo>
                    <a:cubicBezTo>
                      <a:pt x="302674" y="318771"/>
                      <a:pt x="293954" y="323971"/>
                      <a:pt x="283988" y="323971"/>
                    </a:cubicBezTo>
                    <a:cubicBezTo>
                      <a:pt x="268586" y="323971"/>
                      <a:pt x="255902" y="311310"/>
                      <a:pt x="255902" y="295936"/>
                    </a:cubicBezTo>
                    <a:cubicBezTo>
                      <a:pt x="255902" y="285988"/>
                      <a:pt x="261111" y="277283"/>
                      <a:pt x="268926" y="272309"/>
                    </a:cubicBezTo>
                    <a:lnTo>
                      <a:pt x="268926" y="180516"/>
                    </a:lnTo>
                    <a:cubicBezTo>
                      <a:pt x="268926" y="172264"/>
                      <a:pt x="275721" y="165481"/>
                      <a:pt x="283988" y="165481"/>
                    </a:cubicBezTo>
                    <a:close/>
                    <a:moveTo>
                      <a:pt x="268839" y="63180"/>
                    </a:moveTo>
                    <a:cubicBezTo>
                      <a:pt x="216084" y="66684"/>
                      <a:pt x="168311" y="88724"/>
                      <a:pt x="131858" y="122631"/>
                    </a:cubicBezTo>
                    <a:lnTo>
                      <a:pt x="178160" y="168971"/>
                    </a:lnTo>
                    <a:cubicBezTo>
                      <a:pt x="184046" y="174849"/>
                      <a:pt x="184046" y="184343"/>
                      <a:pt x="178160" y="190220"/>
                    </a:cubicBezTo>
                    <a:cubicBezTo>
                      <a:pt x="175216" y="193159"/>
                      <a:pt x="171367" y="194628"/>
                      <a:pt x="167518" y="194628"/>
                    </a:cubicBezTo>
                    <a:cubicBezTo>
                      <a:pt x="163669" y="194628"/>
                      <a:pt x="159820" y="193159"/>
                      <a:pt x="156877" y="190220"/>
                    </a:cubicBezTo>
                    <a:lnTo>
                      <a:pt x="111254" y="144671"/>
                    </a:lnTo>
                    <a:cubicBezTo>
                      <a:pt x="80801" y="181969"/>
                      <a:pt x="62235" y="229213"/>
                      <a:pt x="61216" y="280752"/>
                    </a:cubicBezTo>
                    <a:lnTo>
                      <a:pt x="119292" y="280752"/>
                    </a:lnTo>
                    <a:cubicBezTo>
                      <a:pt x="127669" y="280752"/>
                      <a:pt x="134348" y="287534"/>
                      <a:pt x="134348" y="295898"/>
                    </a:cubicBezTo>
                    <a:cubicBezTo>
                      <a:pt x="134348" y="304148"/>
                      <a:pt x="127669" y="310930"/>
                      <a:pt x="119292" y="310930"/>
                    </a:cubicBezTo>
                    <a:lnTo>
                      <a:pt x="62688" y="310930"/>
                    </a:lnTo>
                    <a:cubicBezTo>
                      <a:pt x="68235" y="359304"/>
                      <a:pt x="89518" y="403045"/>
                      <a:pt x="121330" y="436952"/>
                    </a:cubicBezTo>
                    <a:lnTo>
                      <a:pt x="156877" y="401462"/>
                    </a:lnTo>
                    <a:cubicBezTo>
                      <a:pt x="162763" y="395585"/>
                      <a:pt x="172273" y="395585"/>
                      <a:pt x="178160" y="401462"/>
                    </a:cubicBezTo>
                    <a:cubicBezTo>
                      <a:pt x="184046" y="407340"/>
                      <a:pt x="184046" y="416834"/>
                      <a:pt x="178160" y="422824"/>
                    </a:cubicBezTo>
                    <a:lnTo>
                      <a:pt x="143405" y="457523"/>
                    </a:lnTo>
                    <a:cubicBezTo>
                      <a:pt x="178046" y="485779"/>
                      <a:pt x="221518" y="503862"/>
                      <a:pt x="268839" y="507027"/>
                    </a:cubicBezTo>
                    <a:lnTo>
                      <a:pt x="268839" y="460235"/>
                    </a:lnTo>
                    <a:cubicBezTo>
                      <a:pt x="268839" y="451984"/>
                      <a:pt x="275631" y="445203"/>
                      <a:pt x="284009" y="445203"/>
                    </a:cubicBezTo>
                    <a:cubicBezTo>
                      <a:pt x="292273" y="445203"/>
                      <a:pt x="299065" y="451984"/>
                      <a:pt x="299065" y="460235"/>
                    </a:cubicBezTo>
                    <a:lnTo>
                      <a:pt x="299065" y="507027"/>
                    </a:lnTo>
                    <a:cubicBezTo>
                      <a:pt x="346499" y="503862"/>
                      <a:pt x="389858" y="485779"/>
                      <a:pt x="424612" y="457523"/>
                    </a:cubicBezTo>
                    <a:lnTo>
                      <a:pt x="389744" y="422824"/>
                    </a:lnTo>
                    <a:cubicBezTo>
                      <a:pt x="383858" y="416834"/>
                      <a:pt x="383858" y="407340"/>
                      <a:pt x="389744" y="401462"/>
                    </a:cubicBezTo>
                    <a:cubicBezTo>
                      <a:pt x="395631" y="395585"/>
                      <a:pt x="405254" y="395585"/>
                      <a:pt x="411141" y="401462"/>
                    </a:cubicBezTo>
                    <a:lnTo>
                      <a:pt x="446688" y="436952"/>
                    </a:lnTo>
                    <a:cubicBezTo>
                      <a:pt x="478386" y="403045"/>
                      <a:pt x="499669" y="359304"/>
                      <a:pt x="505329" y="310930"/>
                    </a:cubicBezTo>
                    <a:lnTo>
                      <a:pt x="448612" y="310930"/>
                    </a:lnTo>
                    <a:cubicBezTo>
                      <a:pt x="440348" y="310930"/>
                      <a:pt x="433556" y="304148"/>
                      <a:pt x="433556" y="295898"/>
                    </a:cubicBezTo>
                    <a:cubicBezTo>
                      <a:pt x="433556" y="287534"/>
                      <a:pt x="440348" y="280752"/>
                      <a:pt x="448612" y="280752"/>
                    </a:cubicBezTo>
                    <a:lnTo>
                      <a:pt x="506801" y="280752"/>
                    </a:lnTo>
                    <a:cubicBezTo>
                      <a:pt x="505782" y="229213"/>
                      <a:pt x="487103" y="181969"/>
                      <a:pt x="456650" y="144671"/>
                    </a:cubicBezTo>
                    <a:lnTo>
                      <a:pt x="411141" y="190220"/>
                    </a:lnTo>
                    <a:cubicBezTo>
                      <a:pt x="408197" y="193159"/>
                      <a:pt x="404235" y="194628"/>
                      <a:pt x="400386" y="194628"/>
                    </a:cubicBezTo>
                    <a:cubicBezTo>
                      <a:pt x="396537" y="194628"/>
                      <a:pt x="392688" y="193159"/>
                      <a:pt x="389744" y="190220"/>
                    </a:cubicBezTo>
                    <a:cubicBezTo>
                      <a:pt x="383858" y="184343"/>
                      <a:pt x="383858" y="174849"/>
                      <a:pt x="389744" y="168971"/>
                    </a:cubicBezTo>
                    <a:lnTo>
                      <a:pt x="436046" y="122631"/>
                    </a:lnTo>
                    <a:cubicBezTo>
                      <a:pt x="399707" y="88724"/>
                      <a:pt x="351820" y="66684"/>
                      <a:pt x="299065" y="63180"/>
                    </a:cubicBezTo>
                    <a:lnTo>
                      <a:pt x="299065" y="131447"/>
                    </a:lnTo>
                    <a:cubicBezTo>
                      <a:pt x="299065" y="139698"/>
                      <a:pt x="292273" y="146479"/>
                      <a:pt x="284009" y="146479"/>
                    </a:cubicBezTo>
                    <a:cubicBezTo>
                      <a:pt x="275631" y="146479"/>
                      <a:pt x="268839" y="139698"/>
                      <a:pt x="268839" y="131447"/>
                    </a:cubicBezTo>
                    <a:close/>
                    <a:moveTo>
                      <a:pt x="90594" y="0"/>
                    </a:moveTo>
                    <a:cubicBezTo>
                      <a:pt x="113773" y="0"/>
                      <a:pt x="136952" y="8816"/>
                      <a:pt x="154613" y="26448"/>
                    </a:cubicBezTo>
                    <a:lnTo>
                      <a:pt x="125179" y="55947"/>
                    </a:lnTo>
                    <a:cubicBezTo>
                      <a:pt x="170235" y="24639"/>
                      <a:pt x="225028" y="6329"/>
                      <a:pt x="284009" y="6329"/>
                    </a:cubicBezTo>
                    <a:cubicBezTo>
                      <a:pt x="342990" y="6329"/>
                      <a:pt x="397669" y="24639"/>
                      <a:pt x="442839" y="55947"/>
                    </a:cubicBezTo>
                    <a:lnTo>
                      <a:pt x="413291" y="26448"/>
                    </a:lnTo>
                    <a:cubicBezTo>
                      <a:pt x="448725" y="-8816"/>
                      <a:pt x="506008" y="-8816"/>
                      <a:pt x="541329" y="26448"/>
                    </a:cubicBezTo>
                    <a:cubicBezTo>
                      <a:pt x="576763" y="61824"/>
                      <a:pt x="576763" y="119014"/>
                      <a:pt x="541329" y="154391"/>
                    </a:cubicBezTo>
                    <a:lnTo>
                      <a:pt x="513480" y="126474"/>
                    </a:lnTo>
                    <a:cubicBezTo>
                      <a:pt x="544839" y="171571"/>
                      <a:pt x="563178" y="226275"/>
                      <a:pt x="563178" y="285160"/>
                    </a:cubicBezTo>
                    <a:cubicBezTo>
                      <a:pt x="563178" y="380440"/>
                      <a:pt x="514952" y="464756"/>
                      <a:pt x="441593" y="515052"/>
                    </a:cubicBezTo>
                    <a:lnTo>
                      <a:pt x="492197" y="565574"/>
                    </a:lnTo>
                    <a:cubicBezTo>
                      <a:pt x="501027" y="574390"/>
                      <a:pt x="501027" y="588744"/>
                      <a:pt x="492197" y="597560"/>
                    </a:cubicBezTo>
                    <a:cubicBezTo>
                      <a:pt x="487782" y="601968"/>
                      <a:pt x="482008" y="604115"/>
                      <a:pt x="476235" y="604115"/>
                    </a:cubicBezTo>
                    <a:cubicBezTo>
                      <a:pt x="470348" y="604115"/>
                      <a:pt x="464574" y="601968"/>
                      <a:pt x="460159" y="597560"/>
                    </a:cubicBezTo>
                    <a:lnTo>
                      <a:pt x="400839" y="538222"/>
                    </a:lnTo>
                    <a:cubicBezTo>
                      <a:pt x="365292" y="554723"/>
                      <a:pt x="325669" y="563878"/>
                      <a:pt x="284009" y="563878"/>
                    </a:cubicBezTo>
                    <a:cubicBezTo>
                      <a:pt x="242235" y="563878"/>
                      <a:pt x="202726" y="554723"/>
                      <a:pt x="167065" y="538222"/>
                    </a:cubicBezTo>
                    <a:lnTo>
                      <a:pt x="107745" y="597560"/>
                    </a:lnTo>
                    <a:cubicBezTo>
                      <a:pt x="103330" y="601968"/>
                      <a:pt x="97556" y="604115"/>
                      <a:pt x="91782" y="604115"/>
                    </a:cubicBezTo>
                    <a:cubicBezTo>
                      <a:pt x="85896" y="604115"/>
                      <a:pt x="80122" y="601968"/>
                      <a:pt x="75707" y="597560"/>
                    </a:cubicBezTo>
                    <a:cubicBezTo>
                      <a:pt x="66877" y="588744"/>
                      <a:pt x="66877" y="574390"/>
                      <a:pt x="75707" y="565574"/>
                    </a:cubicBezTo>
                    <a:lnTo>
                      <a:pt x="126311" y="515052"/>
                    </a:lnTo>
                    <a:cubicBezTo>
                      <a:pt x="52952" y="464756"/>
                      <a:pt x="4726" y="380440"/>
                      <a:pt x="4726" y="285160"/>
                    </a:cubicBezTo>
                    <a:cubicBezTo>
                      <a:pt x="4726" y="226275"/>
                      <a:pt x="23065" y="171571"/>
                      <a:pt x="54424" y="126474"/>
                    </a:cubicBezTo>
                    <a:lnTo>
                      <a:pt x="26575" y="154391"/>
                    </a:lnTo>
                    <a:cubicBezTo>
                      <a:pt x="-8859" y="119014"/>
                      <a:pt x="-8859" y="61824"/>
                      <a:pt x="26575" y="26448"/>
                    </a:cubicBezTo>
                    <a:cubicBezTo>
                      <a:pt x="44235" y="8816"/>
                      <a:pt x="67415" y="0"/>
                      <a:pt x="90594" y="0"/>
                    </a:cubicBezTo>
                    <a:close/>
                  </a:path>
                </a:pathLst>
              </a:custGeom>
              <a:solidFill>
                <a:schemeClr val="accent1"/>
              </a:solidFill>
              <a:ln>
                <a:noFill/>
              </a:ln>
            </p:spPr>
            <p:txBody>
              <a:bodyPr/>
              <a:lstStyle/>
              <a:p>
                <a:endParaRPr lang="zh-CN" altLang="en-US"/>
              </a:p>
            </p:txBody>
          </p:sp>
          <p:sp>
            <p:nvSpPr>
              <p:cNvPr id="23" name="íṡľîďè">
                <a:extLst>
                  <a:ext uri="{FF2B5EF4-FFF2-40B4-BE49-F238E27FC236}">
                    <a16:creationId xmlns:a16="http://schemas.microsoft.com/office/drawing/2014/main" id="{DFC395C8-679B-4A80-80B0-8BB81DB3F81F}"/>
                  </a:ext>
                </a:extLst>
              </p:cNvPr>
              <p:cNvSpPr txBox="1"/>
              <p:nvPr/>
            </p:nvSpPr>
            <p:spPr bwMode="auto">
              <a:xfrm>
                <a:off x="1342714" y="3456432"/>
                <a:ext cx="2317186" cy="441805"/>
              </a:xfrm>
              <a:prstGeom prst="rect">
                <a:avLst/>
              </a:prstGeom>
              <a:noFill/>
              <a:ln w="9525">
                <a:noFill/>
                <a:miter lim="800000"/>
                <a:headEnd/>
                <a:tailEnd/>
              </a:ln>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err="1"/>
                  <a:t>EnemyManager</a:t>
                </a:r>
                <a:endParaRPr lang="en-US" altLang="zh-CN" b="1" dirty="0"/>
              </a:p>
            </p:txBody>
          </p:sp>
          <p:sp>
            <p:nvSpPr>
              <p:cNvPr id="24" name="îŝļïḍe">
                <a:extLst>
                  <a:ext uri="{FF2B5EF4-FFF2-40B4-BE49-F238E27FC236}">
                    <a16:creationId xmlns:a16="http://schemas.microsoft.com/office/drawing/2014/main" id="{D391683C-C3A6-4ED8-A0CD-B7FA374418FE}"/>
                  </a:ext>
                </a:extLst>
              </p:cNvPr>
              <p:cNvSpPr/>
              <p:nvPr/>
            </p:nvSpPr>
            <p:spPr bwMode="auto">
              <a:xfrm>
                <a:off x="1429055" y="3898237"/>
                <a:ext cx="2163925"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zh-CN" altLang="en-US" sz="1100" dirty="0"/>
                  <a:t>敌方全体的管理类，实现了敌方单位实例化与模型加载、敌方回合行动顺序执行、敌方死亡单位模型移除等管理功能</a:t>
                </a:r>
                <a:endParaRPr lang="en-US" altLang="zh-CN" sz="1100" dirty="0"/>
              </a:p>
            </p:txBody>
          </p:sp>
        </p:grpSp>
        <p:grpSp>
          <p:nvGrpSpPr>
            <p:cNvPr id="8" name="îşḷiḍè">
              <a:extLst>
                <a:ext uri="{FF2B5EF4-FFF2-40B4-BE49-F238E27FC236}">
                  <a16:creationId xmlns:a16="http://schemas.microsoft.com/office/drawing/2014/main" id="{C676FB6A-4F1E-455B-86EF-1AD2D1A0601E}"/>
                </a:ext>
              </a:extLst>
            </p:cNvPr>
            <p:cNvGrpSpPr/>
            <p:nvPr/>
          </p:nvGrpSpPr>
          <p:grpSpPr>
            <a:xfrm>
              <a:off x="6330980" y="2123554"/>
              <a:ext cx="2352467" cy="3320437"/>
              <a:chOff x="1429055" y="2389675"/>
              <a:chExt cx="2163925" cy="3054316"/>
            </a:xfrm>
          </p:grpSpPr>
          <p:sp>
            <p:nvSpPr>
              <p:cNvPr id="15" name="ïṡ1îde">
                <a:extLst>
                  <a:ext uri="{FF2B5EF4-FFF2-40B4-BE49-F238E27FC236}">
                    <a16:creationId xmlns:a16="http://schemas.microsoft.com/office/drawing/2014/main" id="{FDC20DC0-BB64-4691-8B69-9DD422CCB9DC}"/>
                  </a:ext>
                </a:extLst>
              </p:cNvPr>
              <p:cNvSpPr/>
              <p:nvPr/>
            </p:nvSpPr>
            <p:spPr>
              <a:xfrm rot="16200000">
                <a:off x="1274922" y="3125933"/>
                <a:ext cx="2472192" cy="2163924"/>
              </a:xfrm>
              <a:custGeom>
                <a:avLst/>
                <a:gdLst>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6753 w 8033654"/>
                  <a:gd name="connsiteY5" fmla="*/ 467828 h 7031915"/>
                  <a:gd name="connsiteX6" fmla="*/ 6540064 w 8033654"/>
                  <a:gd name="connsiteY6" fmla="*/ 434562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363588 w 8033654"/>
                  <a:gd name="connsiteY37" fmla="*/ 6946684 h 7031915"/>
                  <a:gd name="connsiteX38" fmla="*/ 2418335 w 8033654"/>
                  <a:gd name="connsiteY38" fmla="*/ 6906767 h 7031915"/>
                  <a:gd name="connsiteX39" fmla="*/ 2418334 w 8033654"/>
                  <a:gd name="connsiteY39" fmla="*/ 6906767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418334 w 8033654"/>
                  <a:gd name="connsiteY42" fmla="*/ 6906767 h 7031915"/>
                  <a:gd name="connsiteX43" fmla="*/ 2176957 w 8033654"/>
                  <a:gd name="connsiteY43" fmla="*/ 7019956 h 7031915"/>
                  <a:gd name="connsiteX44" fmla="*/ 2058326 w 8033654"/>
                  <a:gd name="connsiteY44" fmla="*/ 7031915 h 7031915"/>
                  <a:gd name="connsiteX45" fmla="*/ 2058286 w 8033654"/>
                  <a:gd name="connsiteY45" fmla="*/ 7031915 h 7031915"/>
                  <a:gd name="connsiteX46" fmla="*/ 1939655 w 8033654"/>
                  <a:gd name="connsiteY46" fmla="*/ 7019956 h 7031915"/>
                  <a:gd name="connsiteX47" fmla="*/ 1642007 w 8033654"/>
                  <a:gd name="connsiteY47" fmla="*/ 6859480 h 7031915"/>
                  <a:gd name="connsiteX48" fmla="*/ 1570173 w 8033654"/>
                  <a:gd name="connsiteY48" fmla="*/ 6772417 h 7031915"/>
                  <a:gd name="connsiteX49" fmla="*/ 1508795 w 8033654"/>
                  <a:gd name="connsiteY49" fmla="*/ 6649661 h 7031915"/>
                  <a:gd name="connsiteX50" fmla="*/ 1508794 w 8033654"/>
                  <a:gd name="connsiteY50" fmla="*/ 6649657 h 7031915"/>
                  <a:gd name="connsiteX51" fmla="*/ 115723 w 8033654"/>
                  <a:gd name="connsiteY51" fmla="*/ 3863519 h 7031915"/>
                  <a:gd name="connsiteX52" fmla="*/ 115722 w 8033654"/>
                  <a:gd name="connsiteY52" fmla="*/ 3863518 h 7031915"/>
                  <a:gd name="connsiteX53" fmla="*/ 29470 w 8033654"/>
                  <a:gd name="connsiteY53" fmla="*/ 3691014 h 7031915"/>
                  <a:gd name="connsiteX54" fmla="*/ 11962 w 8033654"/>
                  <a:gd name="connsiteY54" fmla="*/ 3634608 h 7031915"/>
                  <a:gd name="connsiteX55" fmla="*/ 0 w 8033654"/>
                  <a:gd name="connsiteY55" fmla="*/ 3515957 h 7031915"/>
                  <a:gd name="connsiteX56" fmla="*/ 11962 w 8033654"/>
                  <a:gd name="connsiteY56" fmla="*/ 3397306 h 7031915"/>
                  <a:gd name="connsiteX57" fmla="*/ 29470 w 8033654"/>
                  <a:gd name="connsiteY57" fmla="*/ 3340901 h 7031915"/>
                  <a:gd name="connsiteX58" fmla="*/ 115722 w 8033654"/>
                  <a:gd name="connsiteY58" fmla="*/ 3168396 h 7031915"/>
                  <a:gd name="connsiteX59" fmla="*/ 115723 w 8033654"/>
                  <a:gd name="connsiteY59" fmla="*/ 3168396 h 7031915"/>
                  <a:gd name="connsiteX60" fmla="*/ 1508796 w 8033654"/>
                  <a:gd name="connsiteY60" fmla="*/ 382255 h 7031915"/>
                  <a:gd name="connsiteX61" fmla="*/ 1570174 w 8033654"/>
                  <a:gd name="connsiteY61" fmla="*/ 259499 h 7031915"/>
                  <a:gd name="connsiteX62" fmla="*/ 1642008 w 8033654"/>
                  <a:gd name="connsiteY62" fmla="*/ 172435 h 7031915"/>
                  <a:gd name="connsiteX63" fmla="*/ 1939656 w 8033654"/>
                  <a:gd name="connsiteY63" fmla="*/ 11959 h 7031915"/>
                  <a:gd name="connsiteX64" fmla="*/ 2058287 w 8033654"/>
                  <a:gd name="connsiteY64"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176957 w 8033654"/>
                  <a:gd name="connsiteY42" fmla="*/ 7019956 h 7031915"/>
                  <a:gd name="connsiteX43" fmla="*/ 2058326 w 8033654"/>
                  <a:gd name="connsiteY43" fmla="*/ 7031915 h 7031915"/>
                  <a:gd name="connsiteX44" fmla="*/ 2058286 w 8033654"/>
                  <a:gd name="connsiteY44" fmla="*/ 7031915 h 7031915"/>
                  <a:gd name="connsiteX45" fmla="*/ 1939655 w 8033654"/>
                  <a:gd name="connsiteY45" fmla="*/ 7019956 h 7031915"/>
                  <a:gd name="connsiteX46" fmla="*/ 1642007 w 8033654"/>
                  <a:gd name="connsiteY46" fmla="*/ 6859480 h 7031915"/>
                  <a:gd name="connsiteX47" fmla="*/ 1570173 w 8033654"/>
                  <a:gd name="connsiteY47" fmla="*/ 6772417 h 7031915"/>
                  <a:gd name="connsiteX48" fmla="*/ 1508795 w 8033654"/>
                  <a:gd name="connsiteY48" fmla="*/ 6649661 h 7031915"/>
                  <a:gd name="connsiteX49" fmla="*/ 1508794 w 8033654"/>
                  <a:gd name="connsiteY49" fmla="*/ 6649657 h 7031915"/>
                  <a:gd name="connsiteX50" fmla="*/ 115723 w 8033654"/>
                  <a:gd name="connsiteY50" fmla="*/ 3863519 h 7031915"/>
                  <a:gd name="connsiteX51" fmla="*/ 115722 w 8033654"/>
                  <a:gd name="connsiteY51" fmla="*/ 3863518 h 7031915"/>
                  <a:gd name="connsiteX52" fmla="*/ 29470 w 8033654"/>
                  <a:gd name="connsiteY52" fmla="*/ 3691014 h 7031915"/>
                  <a:gd name="connsiteX53" fmla="*/ 11962 w 8033654"/>
                  <a:gd name="connsiteY53" fmla="*/ 3634608 h 7031915"/>
                  <a:gd name="connsiteX54" fmla="*/ 0 w 8033654"/>
                  <a:gd name="connsiteY54" fmla="*/ 3515957 h 7031915"/>
                  <a:gd name="connsiteX55" fmla="*/ 11962 w 8033654"/>
                  <a:gd name="connsiteY55" fmla="*/ 3397306 h 7031915"/>
                  <a:gd name="connsiteX56" fmla="*/ 29470 w 8033654"/>
                  <a:gd name="connsiteY56" fmla="*/ 3340901 h 7031915"/>
                  <a:gd name="connsiteX57" fmla="*/ 115722 w 8033654"/>
                  <a:gd name="connsiteY57" fmla="*/ 3168396 h 7031915"/>
                  <a:gd name="connsiteX58" fmla="*/ 115723 w 8033654"/>
                  <a:gd name="connsiteY58" fmla="*/ 3168396 h 7031915"/>
                  <a:gd name="connsiteX59" fmla="*/ 1508796 w 8033654"/>
                  <a:gd name="connsiteY59" fmla="*/ 382255 h 7031915"/>
                  <a:gd name="connsiteX60" fmla="*/ 1570174 w 8033654"/>
                  <a:gd name="connsiteY60" fmla="*/ 259499 h 7031915"/>
                  <a:gd name="connsiteX61" fmla="*/ 1642008 w 8033654"/>
                  <a:gd name="connsiteY61" fmla="*/ 172435 h 7031915"/>
                  <a:gd name="connsiteX62" fmla="*/ 1939656 w 8033654"/>
                  <a:gd name="connsiteY62" fmla="*/ 11959 h 7031915"/>
                  <a:gd name="connsiteX63" fmla="*/ 2058287 w 8033654"/>
                  <a:gd name="connsiteY63"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62" fmla="*/ 2058287 w 8033654"/>
                  <a:gd name="connsiteY62"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176957 w 8033654"/>
                  <a:gd name="connsiteY40" fmla="*/ 7019956 h 7031915"/>
                  <a:gd name="connsiteX41" fmla="*/ 2058326 w 8033654"/>
                  <a:gd name="connsiteY41" fmla="*/ 7031915 h 7031915"/>
                  <a:gd name="connsiteX42" fmla="*/ 2058286 w 8033654"/>
                  <a:gd name="connsiteY42" fmla="*/ 7031915 h 7031915"/>
                  <a:gd name="connsiteX43" fmla="*/ 1939655 w 8033654"/>
                  <a:gd name="connsiteY43" fmla="*/ 7019956 h 7031915"/>
                  <a:gd name="connsiteX44" fmla="*/ 1642007 w 8033654"/>
                  <a:gd name="connsiteY44" fmla="*/ 6859480 h 7031915"/>
                  <a:gd name="connsiteX45" fmla="*/ 1570173 w 8033654"/>
                  <a:gd name="connsiteY45" fmla="*/ 6772417 h 7031915"/>
                  <a:gd name="connsiteX46" fmla="*/ 1508795 w 8033654"/>
                  <a:gd name="connsiteY46" fmla="*/ 6649661 h 7031915"/>
                  <a:gd name="connsiteX47" fmla="*/ 1508794 w 8033654"/>
                  <a:gd name="connsiteY47" fmla="*/ 6649657 h 7031915"/>
                  <a:gd name="connsiteX48" fmla="*/ 115723 w 8033654"/>
                  <a:gd name="connsiteY48" fmla="*/ 3863519 h 7031915"/>
                  <a:gd name="connsiteX49" fmla="*/ 115722 w 8033654"/>
                  <a:gd name="connsiteY49" fmla="*/ 3863518 h 7031915"/>
                  <a:gd name="connsiteX50" fmla="*/ 29470 w 8033654"/>
                  <a:gd name="connsiteY50" fmla="*/ 3691014 h 7031915"/>
                  <a:gd name="connsiteX51" fmla="*/ 11962 w 8033654"/>
                  <a:gd name="connsiteY51" fmla="*/ 3634608 h 7031915"/>
                  <a:gd name="connsiteX52" fmla="*/ 0 w 8033654"/>
                  <a:gd name="connsiteY52" fmla="*/ 3515957 h 7031915"/>
                  <a:gd name="connsiteX53" fmla="*/ 11962 w 8033654"/>
                  <a:gd name="connsiteY53" fmla="*/ 3397306 h 7031915"/>
                  <a:gd name="connsiteX54" fmla="*/ 29470 w 8033654"/>
                  <a:gd name="connsiteY54" fmla="*/ 3340901 h 7031915"/>
                  <a:gd name="connsiteX55" fmla="*/ 115722 w 8033654"/>
                  <a:gd name="connsiteY55" fmla="*/ 3168396 h 7031915"/>
                  <a:gd name="connsiteX56" fmla="*/ 115723 w 8033654"/>
                  <a:gd name="connsiteY56" fmla="*/ 3168396 h 7031915"/>
                  <a:gd name="connsiteX57" fmla="*/ 1508796 w 8033654"/>
                  <a:gd name="connsiteY57" fmla="*/ 382255 h 7031915"/>
                  <a:gd name="connsiteX58" fmla="*/ 1570174 w 8033654"/>
                  <a:gd name="connsiteY58" fmla="*/ 259499 h 7031915"/>
                  <a:gd name="connsiteX59" fmla="*/ 1642008 w 8033654"/>
                  <a:gd name="connsiteY59" fmla="*/ 172435 h 7031915"/>
                  <a:gd name="connsiteX60" fmla="*/ 1939656 w 8033654"/>
                  <a:gd name="connsiteY60" fmla="*/ 11959 h 7031915"/>
                  <a:gd name="connsiteX61" fmla="*/ 2058287 w 8033654"/>
                  <a:gd name="connsiteY61"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0064 w 8033654"/>
                  <a:gd name="connsiteY6" fmla="*/ 434562 h 7031915"/>
                  <a:gd name="connsiteX7" fmla="*/ 6529086 w 8033654"/>
                  <a:gd name="connsiteY7" fmla="*/ 402424 h 7031915"/>
                  <a:gd name="connsiteX8" fmla="*/ 6482461 w 8033654"/>
                  <a:gd name="connsiteY8" fmla="*/ 295697 h 7031915"/>
                  <a:gd name="connsiteX9" fmla="*/ 6520430 w 8033654"/>
                  <a:gd name="connsiteY9" fmla="*/ 377086 h 7031915"/>
                  <a:gd name="connsiteX10" fmla="*/ 6515577 w 8033654"/>
                  <a:gd name="connsiteY10" fmla="*/ 362878 h 7031915"/>
                  <a:gd name="connsiteX11" fmla="*/ 6482461 w 8033654"/>
                  <a:gd name="connsiteY11" fmla="*/ 295697 h 7031915"/>
                  <a:gd name="connsiteX12" fmla="*/ 2058287 w 8033654"/>
                  <a:gd name="connsiteY12" fmla="*/ 0 h 7031915"/>
                  <a:gd name="connsiteX13" fmla="*/ 2058326 w 8033654"/>
                  <a:gd name="connsiteY13" fmla="*/ 0 h 7031915"/>
                  <a:gd name="connsiteX14" fmla="*/ 5971699 w 8033654"/>
                  <a:gd name="connsiteY14" fmla="*/ 0 h 7031915"/>
                  <a:gd name="connsiteX15" fmla="*/ 5971700 w 8033654"/>
                  <a:gd name="connsiteY15" fmla="*/ 0 h 7031915"/>
                  <a:gd name="connsiteX16" fmla="*/ 5971740 w 8033654"/>
                  <a:gd name="connsiteY16" fmla="*/ 0 h 7031915"/>
                  <a:gd name="connsiteX17" fmla="*/ 6090371 w 8033654"/>
                  <a:gd name="connsiteY17" fmla="*/ 11959 h 7031915"/>
                  <a:gd name="connsiteX18" fmla="*/ 6357004 w 8033654"/>
                  <a:gd name="connsiteY18" fmla="*/ 143562 h 7031915"/>
                  <a:gd name="connsiteX19" fmla="*/ 6421756 w 8033654"/>
                  <a:gd name="connsiteY19" fmla="*/ 209878 h 7031915"/>
                  <a:gd name="connsiteX20" fmla="*/ 6426018 w 8033654"/>
                  <a:gd name="connsiteY20" fmla="*/ 214243 h 7031915"/>
                  <a:gd name="connsiteX21" fmla="*/ 6463356 w 8033654"/>
                  <a:gd name="connsiteY21" fmla="*/ 268125 h 7031915"/>
                  <a:gd name="connsiteX22" fmla="*/ 6480094 w 8033654"/>
                  <a:gd name="connsiteY22" fmla="*/ 292278 h 7031915"/>
                  <a:gd name="connsiteX23" fmla="*/ 6490605 w 8033654"/>
                  <a:gd name="connsiteY23" fmla="*/ 298322 h 7031915"/>
                  <a:gd name="connsiteX24" fmla="*/ 7949332 w 8033654"/>
                  <a:gd name="connsiteY24" fmla="*/ 3216682 h 7031915"/>
                  <a:gd name="connsiteX25" fmla="*/ 7992299 w 8033654"/>
                  <a:gd name="connsiteY25" fmla="*/ 3302616 h 7031915"/>
                  <a:gd name="connsiteX26" fmla="*/ 8021693 w 8033654"/>
                  <a:gd name="connsiteY26" fmla="*/ 3397306 h 7031915"/>
                  <a:gd name="connsiteX27" fmla="*/ 8033654 w 8033654"/>
                  <a:gd name="connsiteY27" fmla="*/ 3515957 h 7031915"/>
                  <a:gd name="connsiteX28" fmla="*/ 8021693 w 8033654"/>
                  <a:gd name="connsiteY28" fmla="*/ 3634608 h 7031915"/>
                  <a:gd name="connsiteX29" fmla="*/ 7992299 w 8033654"/>
                  <a:gd name="connsiteY29" fmla="*/ 3729298 h 7031915"/>
                  <a:gd name="connsiteX30" fmla="*/ 7949332 w 8033654"/>
                  <a:gd name="connsiteY30" fmla="*/ 3815232 h 7031915"/>
                  <a:gd name="connsiteX31" fmla="*/ 6535055 w 8033654"/>
                  <a:gd name="connsiteY31" fmla="*/ 6638796 h 7031915"/>
                  <a:gd name="connsiteX32" fmla="*/ 6524461 w 8033654"/>
                  <a:gd name="connsiteY32" fmla="*/ 6646190 h 7031915"/>
                  <a:gd name="connsiteX33" fmla="*/ 6482456 w 8033654"/>
                  <a:gd name="connsiteY33" fmla="*/ 6736229 h 7031915"/>
                  <a:gd name="connsiteX34" fmla="*/ 6090371 w 8033654"/>
                  <a:gd name="connsiteY34" fmla="*/ 7019956 h 7031915"/>
                  <a:gd name="connsiteX35" fmla="*/ 5971740 w 8033654"/>
                  <a:gd name="connsiteY35" fmla="*/ 7031915 h 7031915"/>
                  <a:gd name="connsiteX36" fmla="*/ 5971700 w 8033654"/>
                  <a:gd name="connsiteY36" fmla="*/ 7031915 h 7031915"/>
                  <a:gd name="connsiteX37" fmla="*/ 2058326 w 8033654"/>
                  <a:gd name="connsiteY37" fmla="*/ 7031915 h 7031915"/>
                  <a:gd name="connsiteX38" fmla="*/ 2176958 w 8033654"/>
                  <a:gd name="connsiteY38" fmla="*/ 7019956 h 7031915"/>
                  <a:gd name="connsiteX39" fmla="*/ 2176957 w 8033654"/>
                  <a:gd name="connsiteY39" fmla="*/ 7019956 h 7031915"/>
                  <a:gd name="connsiteX40" fmla="*/ 2058326 w 8033654"/>
                  <a:gd name="connsiteY40" fmla="*/ 7031915 h 7031915"/>
                  <a:gd name="connsiteX41" fmla="*/ 2058286 w 8033654"/>
                  <a:gd name="connsiteY41" fmla="*/ 7031915 h 7031915"/>
                  <a:gd name="connsiteX42" fmla="*/ 1939655 w 8033654"/>
                  <a:gd name="connsiteY42" fmla="*/ 7019956 h 7031915"/>
                  <a:gd name="connsiteX43" fmla="*/ 1642007 w 8033654"/>
                  <a:gd name="connsiteY43" fmla="*/ 6859480 h 7031915"/>
                  <a:gd name="connsiteX44" fmla="*/ 1570173 w 8033654"/>
                  <a:gd name="connsiteY44" fmla="*/ 6772417 h 7031915"/>
                  <a:gd name="connsiteX45" fmla="*/ 1508795 w 8033654"/>
                  <a:gd name="connsiteY45" fmla="*/ 6649661 h 7031915"/>
                  <a:gd name="connsiteX46" fmla="*/ 1508794 w 8033654"/>
                  <a:gd name="connsiteY46" fmla="*/ 6649657 h 7031915"/>
                  <a:gd name="connsiteX47" fmla="*/ 115723 w 8033654"/>
                  <a:gd name="connsiteY47" fmla="*/ 3863519 h 7031915"/>
                  <a:gd name="connsiteX48" fmla="*/ 115722 w 8033654"/>
                  <a:gd name="connsiteY48" fmla="*/ 3863518 h 7031915"/>
                  <a:gd name="connsiteX49" fmla="*/ 29470 w 8033654"/>
                  <a:gd name="connsiteY49" fmla="*/ 3691014 h 7031915"/>
                  <a:gd name="connsiteX50" fmla="*/ 11962 w 8033654"/>
                  <a:gd name="connsiteY50" fmla="*/ 3634608 h 7031915"/>
                  <a:gd name="connsiteX51" fmla="*/ 0 w 8033654"/>
                  <a:gd name="connsiteY51" fmla="*/ 3515957 h 7031915"/>
                  <a:gd name="connsiteX52" fmla="*/ 11962 w 8033654"/>
                  <a:gd name="connsiteY52" fmla="*/ 3397306 h 7031915"/>
                  <a:gd name="connsiteX53" fmla="*/ 29470 w 8033654"/>
                  <a:gd name="connsiteY53" fmla="*/ 3340901 h 7031915"/>
                  <a:gd name="connsiteX54" fmla="*/ 115722 w 8033654"/>
                  <a:gd name="connsiteY54" fmla="*/ 3168396 h 7031915"/>
                  <a:gd name="connsiteX55" fmla="*/ 115723 w 8033654"/>
                  <a:gd name="connsiteY55" fmla="*/ 3168396 h 7031915"/>
                  <a:gd name="connsiteX56" fmla="*/ 1508796 w 8033654"/>
                  <a:gd name="connsiteY56" fmla="*/ 382255 h 7031915"/>
                  <a:gd name="connsiteX57" fmla="*/ 1570174 w 8033654"/>
                  <a:gd name="connsiteY57" fmla="*/ 259499 h 7031915"/>
                  <a:gd name="connsiteX58" fmla="*/ 1642008 w 8033654"/>
                  <a:gd name="connsiteY58" fmla="*/ 172435 h 7031915"/>
                  <a:gd name="connsiteX59" fmla="*/ 1939656 w 8033654"/>
                  <a:gd name="connsiteY59" fmla="*/ 11959 h 7031915"/>
                  <a:gd name="connsiteX60" fmla="*/ 2058287 w 8033654"/>
                  <a:gd name="connsiteY60" fmla="*/ 0 h 7031915"/>
                  <a:gd name="connsiteX0" fmla="*/ 6555247 w 8033654"/>
                  <a:gd name="connsiteY0" fmla="*/ 510071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0064 w 8033654"/>
                  <a:gd name="connsiteY5" fmla="*/ 434562 h 7031915"/>
                  <a:gd name="connsiteX6" fmla="*/ 6529086 w 8033654"/>
                  <a:gd name="connsiteY6" fmla="*/ 402424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6482461 w 8033654"/>
                  <a:gd name="connsiteY10" fmla="*/ 295697 h 7031915"/>
                  <a:gd name="connsiteX11" fmla="*/ 2058287 w 8033654"/>
                  <a:gd name="connsiteY11" fmla="*/ 0 h 7031915"/>
                  <a:gd name="connsiteX12" fmla="*/ 2058326 w 8033654"/>
                  <a:gd name="connsiteY12" fmla="*/ 0 h 7031915"/>
                  <a:gd name="connsiteX13" fmla="*/ 5971699 w 8033654"/>
                  <a:gd name="connsiteY13" fmla="*/ 0 h 7031915"/>
                  <a:gd name="connsiteX14" fmla="*/ 5971700 w 8033654"/>
                  <a:gd name="connsiteY14" fmla="*/ 0 h 7031915"/>
                  <a:gd name="connsiteX15" fmla="*/ 5971740 w 8033654"/>
                  <a:gd name="connsiteY15" fmla="*/ 0 h 7031915"/>
                  <a:gd name="connsiteX16" fmla="*/ 6090371 w 8033654"/>
                  <a:gd name="connsiteY16" fmla="*/ 11959 h 7031915"/>
                  <a:gd name="connsiteX17" fmla="*/ 6357004 w 8033654"/>
                  <a:gd name="connsiteY17" fmla="*/ 143562 h 7031915"/>
                  <a:gd name="connsiteX18" fmla="*/ 6421756 w 8033654"/>
                  <a:gd name="connsiteY18" fmla="*/ 209878 h 7031915"/>
                  <a:gd name="connsiteX19" fmla="*/ 6426018 w 8033654"/>
                  <a:gd name="connsiteY19" fmla="*/ 214243 h 7031915"/>
                  <a:gd name="connsiteX20" fmla="*/ 6463356 w 8033654"/>
                  <a:gd name="connsiteY20" fmla="*/ 268125 h 7031915"/>
                  <a:gd name="connsiteX21" fmla="*/ 6480094 w 8033654"/>
                  <a:gd name="connsiteY21" fmla="*/ 292278 h 7031915"/>
                  <a:gd name="connsiteX22" fmla="*/ 6490605 w 8033654"/>
                  <a:gd name="connsiteY22" fmla="*/ 298322 h 7031915"/>
                  <a:gd name="connsiteX23" fmla="*/ 7949332 w 8033654"/>
                  <a:gd name="connsiteY23" fmla="*/ 3216682 h 7031915"/>
                  <a:gd name="connsiteX24" fmla="*/ 7992299 w 8033654"/>
                  <a:gd name="connsiteY24" fmla="*/ 3302616 h 7031915"/>
                  <a:gd name="connsiteX25" fmla="*/ 8021693 w 8033654"/>
                  <a:gd name="connsiteY25" fmla="*/ 3397306 h 7031915"/>
                  <a:gd name="connsiteX26" fmla="*/ 8033654 w 8033654"/>
                  <a:gd name="connsiteY26" fmla="*/ 3515957 h 7031915"/>
                  <a:gd name="connsiteX27" fmla="*/ 8021693 w 8033654"/>
                  <a:gd name="connsiteY27" fmla="*/ 3634608 h 7031915"/>
                  <a:gd name="connsiteX28" fmla="*/ 7992299 w 8033654"/>
                  <a:gd name="connsiteY28" fmla="*/ 3729298 h 7031915"/>
                  <a:gd name="connsiteX29" fmla="*/ 7949332 w 8033654"/>
                  <a:gd name="connsiteY29" fmla="*/ 3815232 h 7031915"/>
                  <a:gd name="connsiteX30" fmla="*/ 6535055 w 8033654"/>
                  <a:gd name="connsiteY30" fmla="*/ 6638796 h 7031915"/>
                  <a:gd name="connsiteX31" fmla="*/ 6524461 w 8033654"/>
                  <a:gd name="connsiteY31" fmla="*/ 6646190 h 7031915"/>
                  <a:gd name="connsiteX32" fmla="*/ 6482456 w 8033654"/>
                  <a:gd name="connsiteY32" fmla="*/ 6736229 h 7031915"/>
                  <a:gd name="connsiteX33" fmla="*/ 6090371 w 8033654"/>
                  <a:gd name="connsiteY33" fmla="*/ 7019956 h 7031915"/>
                  <a:gd name="connsiteX34" fmla="*/ 5971740 w 8033654"/>
                  <a:gd name="connsiteY34" fmla="*/ 7031915 h 7031915"/>
                  <a:gd name="connsiteX35" fmla="*/ 5971700 w 8033654"/>
                  <a:gd name="connsiteY35" fmla="*/ 7031915 h 7031915"/>
                  <a:gd name="connsiteX36" fmla="*/ 2058326 w 8033654"/>
                  <a:gd name="connsiteY36" fmla="*/ 7031915 h 7031915"/>
                  <a:gd name="connsiteX37" fmla="*/ 2176958 w 8033654"/>
                  <a:gd name="connsiteY37" fmla="*/ 7019956 h 7031915"/>
                  <a:gd name="connsiteX38" fmla="*/ 2176957 w 8033654"/>
                  <a:gd name="connsiteY38" fmla="*/ 7019956 h 7031915"/>
                  <a:gd name="connsiteX39" fmla="*/ 2058326 w 8033654"/>
                  <a:gd name="connsiteY39" fmla="*/ 7031915 h 7031915"/>
                  <a:gd name="connsiteX40" fmla="*/ 2058286 w 8033654"/>
                  <a:gd name="connsiteY40" fmla="*/ 7031915 h 7031915"/>
                  <a:gd name="connsiteX41" fmla="*/ 1939655 w 8033654"/>
                  <a:gd name="connsiteY41" fmla="*/ 7019956 h 7031915"/>
                  <a:gd name="connsiteX42" fmla="*/ 1642007 w 8033654"/>
                  <a:gd name="connsiteY42" fmla="*/ 6859480 h 7031915"/>
                  <a:gd name="connsiteX43" fmla="*/ 1570173 w 8033654"/>
                  <a:gd name="connsiteY43" fmla="*/ 6772417 h 7031915"/>
                  <a:gd name="connsiteX44" fmla="*/ 1508795 w 8033654"/>
                  <a:gd name="connsiteY44" fmla="*/ 6649661 h 7031915"/>
                  <a:gd name="connsiteX45" fmla="*/ 1508794 w 8033654"/>
                  <a:gd name="connsiteY45" fmla="*/ 6649657 h 7031915"/>
                  <a:gd name="connsiteX46" fmla="*/ 115723 w 8033654"/>
                  <a:gd name="connsiteY46" fmla="*/ 3863519 h 7031915"/>
                  <a:gd name="connsiteX47" fmla="*/ 115722 w 8033654"/>
                  <a:gd name="connsiteY47" fmla="*/ 3863518 h 7031915"/>
                  <a:gd name="connsiteX48" fmla="*/ 29470 w 8033654"/>
                  <a:gd name="connsiteY48" fmla="*/ 3691014 h 7031915"/>
                  <a:gd name="connsiteX49" fmla="*/ 11962 w 8033654"/>
                  <a:gd name="connsiteY49" fmla="*/ 3634608 h 7031915"/>
                  <a:gd name="connsiteX50" fmla="*/ 0 w 8033654"/>
                  <a:gd name="connsiteY50" fmla="*/ 3515957 h 7031915"/>
                  <a:gd name="connsiteX51" fmla="*/ 11962 w 8033654"/>
                  <a:gd name="connsiteY51" fmla="*/ 3397306 h 7031915"/>
                  <a:gd name="connsiteX52" fmla="*/ 29470 w 8033654"/>
                  <a:gd name="connsiteY52" fmla="*/ 3340901 h 7031915"/>
                  <a:gd name="connsiteX53" fmla="*/ 115722 w 8033654"/>
                  <a:gd name="connsiteY53" fmla="*/ 3168396 h 7031915"/>
                  <a:gd name="connsiteX54" fmla="*/ 115723 w 8033654"/>
                  <a:gd name="connsiteY54" fmla="*/ 3168396 h 7031915"/>
                  <a:gd name="connsiteX55" fmla="*/ 1508796 w 8033654"/>
                  <a:gd name="connsiteY55" fmla="*/ 382255 h 7031915"/>
                  <a:gd name="connsiteX56" fmla="*/ 1570174 w 8033654"/>
                  <a:gd name="connsiteY56" fmla="*/ 259499 h 7031915"/>
                  <a:gd name="connsiteX57" fmla="*/ 1642008 w 8033654"/>
                  <a:gd name="connsiteY57" fmla="*/ 172435 h 7031915"/>
                  <a:gd name="connsiteX58" fmla="*/ 1939656 w 8033654"/>
                  <a:gd name="connsiteY58" fmla="*/ 11959 h 7031915"/>
                  <a:gd name="connsiteX59" fmla="*/ 2058287 w 8033654"/>
                  <a:gd name="connsiteY59" fmla="*/ 0 h 7031915"/>
                  <a:gd name="connsiteX0" fmla="*/ 6556798 w 8033654"/>
                  <a:gd name="connsiteY0" fmla="*/ 533489 h 7031915"/>
                  <a:gd name="connsiteX1" fmla="*/ 6555365 w 8033654"/>
                  <a:gd name="connsiteY1" fmla="*/ 531027 h 7031915"/>
                  <a:gd name="connsiteX2" fmla="*/ 6556798 w 8033654"/>
                  <a:gd name="connsiteY2" fmla="*/ 533489 h 7031915"/>
                  <a:gd name="connsiteX3" fmla="*/ 6529086 w 8033654"/>
                  <a:gd name="connsiteY3" fmla="*/ 402424 h 7031915"/>
                  <a:gd name="connsiteX4" fmla="*/ 6540064 w 8033654"/>
                  <a:gd name="connsiteY4" fmla="*/ 434562 h 7031915"/>
                  <a:gd name="connsiteX5" fmla="*/ 6529086 w 8033654"/>
                  <a:gd name="connsiteY5" fmla="*/ 402424 h 7031915"/>
                  <a:gd name="connsiteX6" fmla="*/ 6482461 w 8033654"/>
                  <a:gd name="connsiteY6" fmla="*/ 295697 h 7031915"/>
                  <a:gd name="connsiteX7" fmla="*/ 6520430 w 8033654"/>
                  <a:gd name="connsiteY7" fmla="*/ 377086 h 7031915"/>
                  <a:gd name="connsiteX8" fmla="*/ 6515577 w 8033654"/>
                  <a:gd name="connsiteY8" fmla="*/ 362878 h 7031915"/>
                  <a:gd name="connsiteX9" fmla="*/ 6482461 w 8033654"/>
                  <a:gd name="connsiteY9" fmla="*/ 295697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176957 w 8033654"/>
                  <a:gd name="connsiteY37" fmla="*/ 7019956 h 7031915"/>
                  <a:gd name="connsiteX38" fmla="*/ 2058326 w 8033654"/>
                  <a:gd name="connsiteY38" fmla="*/ 7031915 h 7031915"/>
                  <a:gd name="connsiteX39" fmla="*/ 2058286 w 8033654"/>
                  <a:gd name="connsiteY39" fmla="*/ 7031915 h 7031915"/>
                  <a:gd name="connsiteX40" fmla="*/ 1939655 w 8033654"/>
                  <a:gd name="connsiteY40" fmla="*/ 7019956 h 7031915"/>
                  <a:gd name="connsiteX41" fmla="*/ 1642007 w 8033654"/>
                  <a:gd name="connsiteY41" fmla="*/ 6859480 h 7031915"/>
                  <a:gd name="connsiteX42" fmla="*/ 1570173 w 8033654"/>
                  <a:gd name="connsiteY42" fmla="*/ 6772417 h 7031915"/>
                  <a:gd name="connsiteX43" fmla="*/ 1508795 w 8033654"/>
                  <a:gd name="connsiteY43" fmla="*/ 6649661 h 7031915"/>
                  <a:gd name="connsiteX44" fmla="*/ 1508794 w 8033654"/>
                  <a:gd name="connsiteY44" fmla="*/ 6649657 h 7031915"/>
                  <a:gd name="connsiteX45" fmla="*/ 115723 w 8033654"/>
                  <a:gd name="connsiteY45" fmla="*/ 3863519 h 7031915"/>
                  <a:gd name="connsiteX46" fmla="*/ 115722 w 8033654"/>
                  <a:gd name="connsiteY46" fmla="*/ 3863518 h 7031915"/>
                  <a:gd name="connsiteX47" fmla="*/ 29470 w 8033654"/>
                  <a:gd name="connsiteY47" fmla="*/ 3691014 h 7031915"/>
                  <a:gd name="connsiteX48" fmla="*/ 11962 w 8033654"/>
                  <a:gd name="connsiteY48" fmla="*/ 3634608 h 7031915"/>
                  <a:gd name="connsiteX49" fmla="*/ 0 w 8033654"/>
                  <a:gd name="connsiteY49" fmla="*/ 3515957 h 7031915"/>
                  <a:gd name="connsiteX50" fmla="*/ 11962 w 8033654"/>
                  <a:gd name="connsiteY50" fmla="*/ 3397306 h 7031915"/>
                  <a:gd name="connsiteX51" fmla="*/ 29470 w 8033654"/>
                  <a:gd name="connsiteY51" fmla="*/ 3340901 h 7031915"/>
                  <a:gd name="connsiteX52" fmla="*/ 115722 w 8033654"/>
                  <a:gd name="connsiteY52" fmla="*/ 3168396 h 7031915"/>
                  <a:gd name="connsiteX53" fmla="*/ 115723 w 8033654"/>
                  <a:gd name="connsiteY53" fmla="*/ 3168396 h 7031915"/>
                  <a:gd name="connsiteX54" fmla="*/ 1508796 w 8033654"/>
                  <a:gd name="connsiteY54" fmla="*/ 382255 h 7031915"/>
                  <a:gd name="connsiteX55" fmla="*/ 1570174 w 8033654"/>
                  <a:gd name="connsiteY55" fmla="*/ 259499 h 7031915"/>
                  <a:gd name="connsiteX56" fmla="*/ 1642008 w 8033654"/>
                  <a:gd name="connsiteY56" fmla="*/ 172435 h 7031915"/>
                  <a:gd name="connsiteX57" fmla="*/ 1939656 w 8033654"/>
                  <a:gd name="connsiteY57" fmla="*/ 11959 h 7031915"/>
                  <a:gd name="connsiteX58" fmla="*/ 2058287 w 8033654"/>
                  <a:gd name="connsiteY58"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6490605 w 8033654"/>
                  <a:gd name="connsiteY18" fmla="*/ 298322 h 7031915"/>
                  <a:gd name="connsiteX19" fmla="*/ 7949332 w 8033654"/>
                  <a:gd name="connsiteY19" fmla="*/ 3216682 h 7031915"/>
                  <a:gd name="connsiteX20" fmla="*/ 7992299 w 8033654"/>
                  <a:gd name="connsiteY20" fmla="*/ 3302616 h 7031915"/>
                  <a:gd name="connsiteX21" fmla="*/ 8021693 w 8033654"/>
                  <a:gd name="connsiteY21" fmla="*/ 3397306 h 7031915"/>
                  <a:gd name="connsiteX22" fmla="*/ 8033654 w 8033654"/>
                  <a:gd name="connsiteY22" fmla="*/ 3515957 h 7031915"/>
                  <a:gd name="connsiteX23" fmla="*/ 8021693 w 8033654"/>
                  <a:gd name="connsiteY23" fmla="*/ 3634608 h 7031915"/>
                  <a:gd name="connsiteX24" fmla="*/ 7992299 w 8033654"/>
                  <a:gd name="connsiteY24" fmla="*/ 3729298 h 7031915"/>
                  <a:gd name="connsiteX25" fmla="*/ 7949332 w 8033654"/>
                  <a:gd name="connsiteY25" fmla="*/ 3815232 h 7031915"/>
                  <a:gd name="connsiteX26" fmla="*/ 6535055 w 8033654"/>
                  <a:gd name="connsiteY26" fmla="*/ 6638796 h 7031915"/>
                  <a:gd name="connsiteX27" fmla="*/ 6524461 w 8033654"/>
                  <a:gd name="connsiteY27" fmla="*/ 6646190 h 7031915"/>
                  <a:gd name="connsiteX28" fmla="*/ 6482456 w 8033654"/>
                  <a:gd name="connsiteY28" fmla="*/ 6736229 h 7031915"/>
                  <a:gd name="connsiteX29" fmla="*/ 6090371 w 8033654"/>
                  <a:gd name="connsiteY29" fmla="*/ 7019956 h 7031915"/>
                  <a:gd name="connsiteX30" fmla="*/ 5971740 w 8033654"/>
                  <a:gd name="connsiteY30" fmla="*/ 7031915 h 7031915"/>
                  <a:gd name="connsiteX31" fmla="*/ 5971700 w 8033654"/>
                  <a:gd name="connsiteY31" fmla="*/ 7031915 h 7031915"/>
                  <a:gd name="connsiteX32" fmla="*/ 2058326 w 8033654"/>
                  <a:gd name="connsiteY32" fmla="*/ 7031915 h 7031915"/>
                  <a:gd name="connsiteX33" fmla="*/ 2176958 w 8033654"/>
                  <a:gd name="connsiteY33" fmla="*/ 7019956 h 7031915"/>
                  <a:gd name="connsiteX34" fmla="*/ 2176957 w 8033654"/>
                  <a:gd name="connsiteY34" fmla="*/ 7019956 h 7031915"/>
                  <a:gd name="connsiteX35" fmla="*/ 2058326 w 8033654"/>
                  <a:gd name="connsiteY35" fmla="*/ 7031915 h 7031915"/>
                  <a:gd name="connsiteX36" fmla="*/ 2058286 w 8033654"/>
                  <a:gd name="connsiteY36" fmla="*/ 7031915 h 7031915"/>
                  <a:gd name="connsiteX37" fmla="*/ 1939655 w 8033654"/>
                  <a:gd name="connsiteY37" fmla="*/ 7019956 h 7031915"/>
                  <a:gd name="connsiteX38" fmla="*/ 1642007 w 8033654"/>
                  <a:gd name="connsiteY38" fmla="*/ 6859480 h 7031915"/>
                  <a:gd name="connsiteX39" fmla="*/ 1570173 w 8033654"/>
                  <a:gd name="connsiteY39" fmla="*/ 6772417 h 7031915"/>
                  <a:gd name="connsiteX40" fmla="*/ 1508795 w 8033654"/>
                  <a:gd name="connsiteY40" fmla="*/ 6649661 h 7031915"/>
                  <a:gd name="connsiteX41" fmla="*/ 1508794 w 8033654"/>
                  <a:gd name="connsiteY41" fmla="*/ 6649657 h 7031915"/>
                  <a:gd name="connsiteX42" fmla="*/ 115723 w 8033654"/>
                  <a:gd name="connsiteY42" fmla="*/ 3863519 h 7031915"/>
                  <a:gd name="connsiteX43" fmla="*/ 115722 w 8033654"/>
                  <a:gd name="connsiteY43" fmla="*/ 3863518 h 7031915"/>
                  <a:gd name="connsiteX44" fmla="*/ 29470 w 8033654"/>
                  <a:gd name="connsiteY44" fmla="*/ 3691014 h 7031915"/>
                  <a:gd name="connsiteX45" fmla="*/ 11962 w 8033654"/>
                  <a:gd name="connsiteY45" fmla="*/ 3634608 h 7031915"/>
                  <a:gd name="connsiteX46" fmla="*/ 0 w 8033654"/>
                  <a:gd name="connsiteY46" fmla="*/ 3515957 h 7031915"/>
                  <a:gd name="connsiteX47" fmla="*/ 11962 w 8033654"/>
                  <a:gd name="connsiteY47" fmla="*/ 3397306 h 7031915"/>
                  <a:gd name="connsiteX48" fmla="*/ 29470 w 8033654"/>
                  <a:gd name="connsiteY48" fmla="*/ 3340901 h 7031915"/>
                  <a:gd name="connsiteX49" fmla="*/ 115722 w 8033654"/>
                  <a:gd name="connsiteY49" fmla="*/ 3168396 h 7031915"/>
                  <a:gd name="connsiteX50" fmla="*/ 115723 w 8033654"/>
                  <a:gd name="connsiteY50" fmla="*/ 3168396 h 7031915"/>
                  <a:gd name="connsiteX51" fmla="*/ 1508796 w 8033654"/>
                  <a:gd name="connsiteY51" fmla="*/ 382255 h 7031915"/>
                  <a:gd name="connsiteX52" fmla="*/ 1570174 w 8033654"/>
                  <a:gd name="connsiteY52" fmla="*/ 259499 h 7031915"/>
                  <a:gd name="connsiteX53" fmla="*/ 1642008 w 8033654"/>
                  <a:gd name="connsiteY53" fmla="*/ 172435 h 7031915"/>
                  <a:gd name="connsiteX54" fmla="*/ 1939656 w 8033654"/>
                  <a:gd name="connsiteY54" fmla="*/ 11959 h 7031915"/>
                  <a:gd name="connsiteX55" fmla="*/ 2058287 w 8033654"/>
                  <a:gd name="connsiteY55"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7949332 w 8033654"/>
                  <a:gd name="connsiteY18" fmla="*/ 3216682 h 7031915"/>
                  <a:gd name="connsiteX19" fmla="*/ 7992299 w 8033654"/>
                  <a:gd name="connsiteY19" fmla="*/ 3302616 h 7031915"/>
                  <a:gd name="connsiteX20" fmla="*/ 8021693 w 8033654"/>
                  <a:gd name="connsiteY20" fmla="*/ 3397306 h 7031915"/>
                  <a:gd name="connsiteX21" fmla="*/ 8033654 w 8033654"/>
                  <a:gd name="connsiteY21" fmla="*/ 3515957 h 7031915"/>
                  <a:gd name="connsiteX22" fmla="*/ 8021693 w 8033654"/>
                  <a:gd name="connsiteY22" fmla="*/ 3634608 h 7031915"/>
                  <a:gd name="connsiteX23" fmla="*/ 7992299 w 8033654"/>
                  <a:gd name="connsiteY23" fmla="*/ 3729298 h 7031915"/>
                  <a:gd name="connsiteX24" fmla="*/ 7949332 w 8033654"/>
                  <a:gd name="connsiteY24" fmla="*/ 3815232 h 7031915"/>
                  <a:gd name="connsiteX25" fmla="*/ 6535055 w 8033654"/>
                  <a:gd name="connsiteY25" fmla="*/ 6638796 h 7031915"/>
                  <a:gd name="connsiteX26" fmla="*/ 6524461 w 8033654"/>
                  <a:gd name="connsiteY26" fmla="*/ 6646190 h 7031915"/>
                  <a:gd name="connsiteX27" fmla="*/ 6482456 w 8033654"/>
                  <a:gd name="connsiteY27" fmla="*/ 6736229 h 7031915"/>
                  <a:gd name="connsiteX28" fmla="*/ 6090371 w 8033654"/>
                  <a:gd name="connsiteY28" fmla="*/ 7019956 h 7031915"/>
                  <a:gd name="connsiteX29" fmla="*/ 5971740 w 8033654"/>
                  <a:gd name="connsiteY29" fmla="*/ 7031915 h 7031915"/>
                  <a:gd name="connsiteX30" fmla="*/ 5971700 w 8033654"/>
                  <a:gd name="connsiteY30" fmla="*/ 7031915 h 7031915"/>
                  <a:gd name="connsiteX31" fmla="*/ 2058326 w 8033654"/>
                  <a:gd name="connsiteY31" fmla="*/ 7031915 h 7031915"/>
                  <a:gd name="connsiteX32" fmla="*/ 2176958 w 8033654"/>
                  <a:gd name="connsiteY32" fmla="*/ 7019956 h 7031915"/>
                  <a:gd name="connsiteX33" fmla="*/ 2176957 w 8033654"/>
                  <a:gd name="connsiteY33" fmla="*/ 7019956 h 7031915"/>
                  <a:gd name="connsiteX34" fmla="*/ 2058326 w 8033654"/>
                  <a:gd name="connsiteY34" fmla="*/ 7031915 h 7031915"/>
                  <a:gd name="connsiteX35" fmla="*/ 2058286 w 8033654"/>
                  <a:gd name="connsiteY35" fmla="*/ 7031915 h 7031915"/>
                  <a:gd name="connsiteX36" fmla="*/ 1939655 w 8033654"/>
                  <a:gd name="connsiteY36" fmla="*/ 7019956 h 7031915"/>
                  <a:gd name="connsiteX37" fmla="*/ 1642007 w 8033654"/>
                  <a:gd name="connsiteY37" fmla="*/ 6859480 h 7031915"/>
                  <a:gd name="connsiteX38" fmla="*/ 1570173 w 8033654"/>
                  <a:gd name="connsiteY38" fmla="*/ 6772417 h 7031915"/>
                  <a:gd name="connsiteX39" fmla="*/ 1508795 w 8033654"/>
                  <a:gd name="connsiteY39" fmla="*/ 6649661 h 7031915"/>
                  <a:gd name="connsiteX40" fmla="*/ 1508794 w 8033654"/>
                  <a:gd name="connsiteY40" fmla="*/ 6649657 h 7031915"/>
                  <a:gd name="connsiteX41" fmla="*/ 115723 w 8033654"/>
                  <a:gd name="connsiteY41" fmla="*/ 3863519 h 7031915"/>
                  <a:gd name="connsiteX42" fmla="*/ 115722 w 8033654"/>
                  <a:gd name="connsiteY42" fmla="*/ 3863518 h 7031915"/>
                  <a:gd name="connsiteX43" fmla="*/ 29470 w 8033654"/>
                  <a:gd name="connsiteY43" fmla="*/ 3691014 h 7031915"/>
                  <a:gd name="connsiteX44" fmla="*/ 11962 w 8033654"/>
                  <a:gd name="connsiteY44" fmla="*/ 3634608 h 7031915"/>
                  <a:gd name="connsiteX45" fmla="*/ 0 w 8033654"/>
                  <a:gd name="connsiteY45" fmla="*/ 3515957 h 7031915"/>
                  <a:gd name="connsiteX46" fmla="*/ 11962 w 8033654"/>
                  <a:gd name="connsiteY46" fmla="*/ 3397306 h 7031915"/>
                  <a:gd name="connsiteX47" fmla="*/ 29470 w 8033654"/>
                  <a:gd name="connsiteY47" fmla="*/ 3340901 h 7031915"/>
                  <a:gd name="connsiteX48" fmla="*/ 115722 w 8033654"/>
                  <a:gd name="connsiteY48" fmla="*/ 3168396 h 7031915"/>
                  <a:gd name="connsiteX49" fmla="*/ 115723 w 8033654"/>
                  <a:gd name="connsiteY49" fmla="*/ 3168396 h 7031915"/>
                  <a:gd name="connsiteX50" fmla="*/ 1508796 w 8033654"/>
                  <a:gd name="connsiteY50" fmla="*/ 382255 h 7031915"/>
                  <a:gd name="connsiteX51" fmla="*/ 1570174 w 8033654"/>
                  <a:gd name="connsiteY51" fmla="*/ 259499 h 7031915"/>
                  <a:gd name="connsiteX52" fmla="*/ 1642008 w 8033654"/>
                  <a:gd name="connsiteY52" fmla="*/ 172435 h 7031915"/>
                  <a:gd name="connsiteX53" fmla="*/ 1939656 w 8033654"/>
                  <a:gd name="connsiteY53" fmla="*/ 11959 h 7031915"/>
                  <a:gd name="connsiteX54" fmla="*/ 2058287 w 8033654"/>
                  <a:gd name="connsiteY54"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482461 w 8033654"/>
                  <a:gd name="connsiteY5" fmla="*/ 295697 h 7031915"/>
                  <a:gd name="connsiteX6" fmla="*/ 2058287 w 8033654"/>
                  <a:gd name="connsiteY6" fmla="*/ 0 h 7031915"/>
                  <a:gd name="connsiteX7" fmla="*/ 2058326 w 8033654"/>
                  <a:gd name="connsiteY7" fmla="*/ 0 h 7031915"/>
                  <a:gd name="connsiteX8" fmla="*/ 5971699 w 8033654"/>
                  <a:gd name="connsiteY8" fmla="*/ 0 h 7031915"/>
                  <a:gd name="connsiteX9" fmla="*/ 5971700 w 8033654"/>
                  <a:gd name="connsiteY9" fmla="*/ 0 h 7031915"/>
                  <a:gd name="connsiteX10" fmla="*/ 5971740 w 8033654"/>
                  <a:gd name="connsiteY10" fmla="*/ 0 h 7031915"/>
                  <a:gd name="connsiteX11" fmla="*/ 6090371 w 8033654"/>
                  <a:gd name="connsiteY11" fmla="*/ 11959 h 7031915"/>
                  <a:gd name="connsiteX12" fmla="*/ 6357004 w 8033654"/>
                  <a:gd name="connsiteY12" fmla="*/ 143562 h 7031915"/>
                  <a:gd name="connsiteX13" fmla="*/ 6421756 w 8033654"/>
                  <a:gd name="connsiteY13" fmla="*/ 209878 h 7031915"/>
                  <a:gd name="connsiteX14" fmla="*/ 6426018 w 8033654"/>
                  <a:gd name="connsiteY14" fmla="*/ 214243 h 7031915"/>
                  <a:gd name="connsiteX15" fmla="*/ 6463356 w 8033654"/>
                  <a:gd name="connsiteY15" fmla="*/ 268125 h 7031915"/>
                  <a:gd name="connsiteX16" fmla="*/ 6480094 w 8033654"/>
                  <a:gd name="connsiteY16" fmla="*/ 292278 h 7031915"/>
                  <a:gd name="connsiteX17" fmla="*/ 7949332 w 8033654"/>
                  <a:gd name="connsiteY17" fmla="*/ 3216682 h 7031915"/>
                  <a:gd name="connsiteX18" fmla="*/ 7992299 w 8033654"/>
                  <a:gd name="connsiteY18" fmla="*/ 3302616 h 7031915"/>
                  <a:gd name="connsiteX19" fmla="*/ 8021693 w 8033654"/>
                  <a:gd name="connsiteY19" fmla="*/ 3397306 h 7031915"/>
                  <a:gd name="connsiteX20" fmla="*/ 8033654 w 8033654"/>
                  <a:gd name="connsiteY20" fmla="*/ 3515957 h 7031915"/>
                  <a:gd name="connsiteX21" fmla="*/ 8021693 w 8033654"/>
                  <a:gd name="connsiteY21" fmla="*/ 3634608 h 7031915"/>
                  <a:gd name="connsiteX22" fmla="*/ 7992299 w 8033654"/>
                  <a:gd name="connsiteY22" fmla="*/ 3729298 h 7031915"/>
                  <a:gd name="connsiteX23" fmla="*/ 7949332 w 8033654"/>
                  <a:gd name="connsiteY23" fmla="*/ 3815232 h 7031915"/>
                  <a:gd name="connsiteX24" fmla="*/ 6535055 w 8033654"/>
                  <a:gd name="connsiteY24" fmla="*/ 6638796 h 7031915"/>
                  <a:gd name="connsiteX25" fmla="*/ 6524461 w 8033654"/>
                  <a:gd name="connsiteY25" fmla="*/ 6646190 h 7031915"/>
                  <a:gd name="connsiteX26" fmla="*/ 6482456 w 8033654"/>
                  <a:gd name="connsiteY26" fmla="*/ 6736229 h 7031915"/>
                  <a:gd name="connsiteX27" fmla="*/ 6090371 w 8033654"/>
                  <a:gd name="connsiteY27" fmla="*/ 7019956 h 7031915"/>
                  <a:gd name="connsiteX28" fmla="*/ 5971740 w 8033654"/>
                  <a:gd name="connsiteY28" fmla="*/ 7031915 h 7031915"/>
                  <a:gd name="connsiteX29" fmla="*/ 5971700 w 8033654"/>
                  <a:gd name="connsiteY29" fmla="*/ 7031915 h 7031915"/>
                  <a:gd name="connsiteX30" fmla="*/ 2058326 w 8033654"/>
                  <a:gd name="connsiteY30" fmla="*/ 7031915 h 7031915"/>
                  <a:gd name="connsiteX31" fmla="*/ 2176958 w 8033654"/>
                  <a:gd name="connsiteY31" fmla="*/ 7019956 h 7031915"/>
                  <a:gd name="connsiteX32" fmla="*/ 2176957 w 8033654"/>
                  <a:gd name="connsiteY32" fmla="*/ 7019956 h 7031915"/>
                  <a:gd name="connsiteX33" fmla="*/ 2058326 w 8033654"/>
                  <a:gd name="connsiteY33" fmla="*/ 7031915 h 7031915"/>
                  <a:gd name="connsiteX34" fmla="*/ 2058286 w 8033654"/>
                  <a:gd name="connsiteY34" fmla="*/ 7031915 h 7031915"/>
                  <a:gd name="connsiteX35" fmla="*/ 1939655 w 8033654"/>
                  <a:gd name="connsiteY35" fmla="*/ 7019956 h 7031915"/>
                  <a:gd name="connsiteX36" fmla="*/ 1642007 w 8033654"/>
                  <a:gd name="connsiteY36" fmla="*/ 6859480 h 7031915"/>
                  <a:gd name="connsiteX37" fmla="*/ 1570173 w 8033654"/>
                  <a:gd name="connsiteY37" fmla="*/ 6772417 h 7031915"/>
                  <a:gd name="connsiteX38" fmla="*/ 1508795 w 8033654"/>
                  <a:gd name="connsiteY38" fmla="*/ 6649661 h 7031915"/>
                  <a:gd name="connsiteX39" fmla="*/ 1508794 w 8033654"/>
                  <a:gd name="connsiteY39" fmla="*/ 6649657 h 7031915"/>
                  <a:gd name="connsiteX40" fmla="*/ 115723 w 8033654"/>
                  <a:gd name="connsiteY40" fmla="*/ 3863519 h 7031915"/>
                  <a:gd name="connsiteX41" fmla="*/ 115722 w 8033654"/>
                  <a:gd name="connsiteY41" fmla="*/ 3863518 h 7031915"/>
                  <a:gd name="connsiteX42" fmla="*/ 29470 w 8033654"/>
                  <a:gd name="connsiteY42" fmla="*/ 3691014 h 7031915"/>
                  <a:gd name="connsiteX43" fmla="*/ 11962 w 8033654"/>
                  <a:gd name="connsiteY43" fmla="*/ 3634608 h 7031915"/>
                  <a:gd name="connsiteX44" fmla="*/ 0 w 8033654"/>
                  <a:gd name="connsiteY44" fmla="*/ 3515957 h 7031915"/>
                  <a:gd name="connsiteX45" fmla="*/ 11962 w 8033654"/>
                  <a:gd name="connsiteY45" fmla="*/ 3397306 h 7031915"/>
                  <a:gd name="connsiteX46" fmla="*/ 29470 w 8033654"/>
                  <a:gd name="connsiteY46" fmla="*/ 3340901 h 7031915"/>
                  <a:gd name="connsiteX47" fmla="*/ 115722 w 8033654"/>
                  <a:gd name="connsiteY47" fmla="*/ 3168396 h 7031915"/>
                  <a:gd name="connsiteX48" fmla="*/ 115723 w 8033654"/>
                  <a:gd name="connsiteY48" fmla="*/ 3168396 h 7031915"/>
                  <a:gd name="connsiteX49" fmla="*/ 1508796 w 8033654"/>
                  <a:gd name="connsiteY49" fmla="*/ 382255 h 7031915"/>
                  <a:gd name="connsiteX50" fmla="*/ 1570174 w 8033654"/>
                  <a:gd name="connsiteY50" fmla="*/ 259499 h 7031915"/>
                  <a:gd name="connsiteX51" fmla="*/ 1642008 w 8033654"/>
                  <a:gd name="connsiteY51" fmla="*/ 172435 h 7031915"/>
                  <a:gd name="connsiteX52" fmla="*/ 1939656 w 8033654"/>
                  <a:gd name="connsiteY52" fmla="*/ 11959 h 7031915"/>
                  <a:gd name="connsiteX53" fmla="*/ 2058287 w 8033654"/>
                  <a:gd name="connsiteY53"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2058287 w 8033654"/>
                  <a:gd name="connsiteY3" fmla="*/ 0 h 7031915"/>
                  <a:gd name="connsiteX4" fmla="*/ 2058326 w 8033654"/>
                  <a:gd name="connsiteY4" fmla="*/ 0 h 7031915"/>
                  <a:gd name="connsiteX5" fmla="*/ 5971699 w 8033654"/>
                  <a:gd name="connsiteY5" fmla="*/ 0 h 7031915"/>
                  <a:gd name="connsiteX6" fmla="*/ 5971700 w 8033654"/>
                  <a:gd name="connsiteY6" fmla="*/ 0 h 7031915"/>
                  <a:gd name="connsiteX7" fmla="*/ 5971740 w 8033654"/>
                  <a:gd name="connsiteY7" fmla="*/ 0 h 7031915"/>
                  <a:gd name="connsiteX8" fmla="*/ 6090371 w 8033654"/>
                  <a:gd name="connsiteY8" fmla="*/ 11959 h 7031915"/>
                  <a:gd name="connsiteX9" fmla="*/ 6357004 w 8033654"/>
                  <a:gd name="connsiteY9" fmla="*/ 143562 h 7031915"/>
                  <a:gd name="connsiteX10" fmla="*/ 6421756 w 8033654"/>
                  <a:gd name="connsiteY10" fmla="*/ 209878 h 7031915"/>
                  <a:gd name="connsiteX11" fmla="*/ 6426018 w 8033654"/>
                  <a:gd name="connsiteY11" fmla="*/ 214243 h 7031915"/>
                  <a:gd name="connsiteX12" fmla="*/ 6463356 w 8033654"/>
                  <a:gd name="connsiteY12" fmla="*/ 268125 h 7031915"/>
                  <a:gd name="connsiteX13" fmla="*/ 6480094 w 8033654"/>
                  <a:gd name="connsiteY13" fmla="*/ 292278 h 7031915"/>
                  <a:gd name="connsiteX14" fmla="*/ 7949332 w 8033654"/>
                  <a:gd name="connsiteY14" fmla="*/ 3216682 h 7031915"/>
                  <a:gd name="connsiteX15" fmla="*/ 7992299 w 8033654"/>
                  <a:gd name="connsiteY15" fmla="*/ 3302616 h 7031915"/>
                  <a:gd name="connsiteX16" fmla="*/ 8021693 w 8033654"/>
                  <a:gd name="connsiteY16" fmla="*/ 3397306 h 7031915"/>
                  <a:gd name="connsiteX17" fmla="*/ 8033654 w 8033654"/>
                  <a:gd name="connsiteY17" fmla="*/ 3515957 h 7031915"/>
                  <a:gd name="connsiteX18" fmla="*/ 8021693 w 8033654"/>
                  <a:gd name="connsiteY18" fmla="*/ 3634608 h 7031915"/>
                  <a:gd name="connsiteX19" fmla="*/ 7992299 w 8033654"/>
                  <a:gd name="connsiteY19" fmla="*/ 3729298 h 7031915"/>
                  <a:gd name="connsiteX20" fmla="*/ 7949332 w 8033654"/>
                  <a:gd name="connsiteY20" fmla="*/ 3815232 h 7031915"/>
                  <a:gd name="connsiteX21" fmla="*/ 6535055 w 8033654"/>
                  <a:gd name="connsiteY21" fmla="*/ 6638796 h 7031915"/>
                  <a:gd name="connsiteX22" fmla="*/ 6524461 w 8033654"/>
                  <a:gd name="connsiteY22" fmla="*/ 6646190 h 7031915"/>
                  <a:gd name="connsiteX23" fmla="*/ 6482456 w 8033654"/>
                  <a:gd name="connsiteY23" fmla="*/ 6736229 h 7031915"/>
                  <a:gd name="connsiteX24" fmla="*/ 6090371 w 8033654"/>
                  <a:gd name="connsiteY24" fmla="*/ 7019956 h 7031915"/>
                  <a:gd name="connsiteX25" fmla="*/ 5971740 w 8033654"/>
                  <a:gd name="connsiteY25" fmla="*/ 7031915 h 7031915"/>
                  <a:gd name="connsiteX26" fmla="*/ 5971700 w 8033654"/>
                  <a:gd name="connsiteY26" fmla="*/ 7031915 h 7031915"/>
                  <a:gd name="connsiteX27" fmla="*/ 2058326 w 8033654"/>
                  <a:gd name="connsiteY27" fmla="*/ 7031915 h 7031915"/>
                  <a:gd name="connsiteX28" fmla="*/ 2176958 w 8033654"/>
                  <a:gd name="connsiteY28" fmla="*/ 7019956 h 7031915"/>
                  <a:gd name="connsiteX29" fmla="*/ 2176957 w 8033654"/>
                  <a:gd name="connsiteY29" fmla="*/ 7019956 h 7031915"/>
                  <a:gd name="connsiteX30" fmla="*/ 2058326 w 8033654"/>
                  <a:gd name="connsiteY30" fmla="*/ 7031915 h 7031915"/>
                  <a:gd name="connsiteX31" fmla="*/ 2058286 w 8033654"/>
                  <a:gd name="connsiteY31" fmla="*/ 7031915 h 7031915"/>
                  <a:gd name="connsiteX32" fmla="*/ 1939655 w 8033654"/>
                  <a:gd name="connsiteY32" fmla="*/ 7019956 h 7031915"/>
                  <a:gd name="connsiteX33" fmla="*/ 1642007 w 8033654"/>
                  <a:gd name="connsiteY33" fmla="*/ 6859480 h 7031915"/>
                  <a:gd name="connsiteX34" fmla="*/ 1570173 w 8033654"/>
                  <a:gd name="connsiteY34" fmla="*/ 6772417 h 7031915"/>
                  <a:gd name="connsiteX35" fmla="*/ 1508795 w 8033654"/>
                  <a:gd name="connsiteY35" fmla="*/ 6649661 h 7031915"/>
                  <a:gd name="connsiteX36" fmla="*/ 1508794 w 8033654"/>
                  <a:gd name="connsiteY36" fmla="*/ 6649657 h 7031915"/>
                  <a:gd name="connsiteX37" fmla="*/ 115723 w 8033654"/>
                  <a:gd name="connsiteY37" fmla="*/ 3863519 h 7031915"/>
                  <a:gd name="connsiteX38" fmla="*/ 115722 w 8033654"/>
                  <a:gd name="connsiteY38" fmla="*/ 3863518 h 7031915"/>
                  <a:gd name="connsiteX39" fmla="*/ 29470 w 8033654"/>
                  <a:gd name="connsiteY39" fmla="*/ 3691014 h 7031915"/>
                  <a:gd name="connsiteX40" fmla="*/ 11962 w 8033654"/>
                  <a:gd name="connsiteY40" fmla="*/ 3634608 h 7031915"/>
                  <a:gd name="connsiteX41" fmla="*/ 0 w 8033654"/>
                  <a:gd name="connsiteY41" fmla="*/ 3515957 h 7031915"/>
                  <a:gd name="connsiteX42" fmla="*/ 11962 w 8033654"/>
                  <a:gd name="connsiteY42" fmla="*/ 3397306 h 7031915"/>
                  <a:gd name="connsiteX43" fmla="*/ 29470 w 8033654"/>
                  <a:gd name="connsiteY43" fmla="*/ 3340901 h 7031915"/>
                  <a:gd name="connsiteX44" fmla="*/ 115722 w 8033654"/>
                  <a:gd name="connsiteY44" fmla="*/ 3168396 h 7031915"/>
                  <a:gd name="connsiteX45" fmla="*/ 115723 w 8033654"/>
                  <a:gd name="connsiteY45" fmla="*/ 3168396 h 7031915"/>
                  <a:gd name="connsiteX46" fmla="*/ 1508796 w 8033654"/>
                  <a:gd name="connsiteY46" fmla="*/ 382255 h 7031915"/>
                  <a:gd name="connsiteX47" fmla="*/ 1570174 w 8033654"/>
                  <a:gd name="connsiteY47" fmla="*/ 259499 h 7031915"/>
                  <a:gd name="connsiteX48" fmla="*/ 1642008 w 8033654"/>
                  <a:gd name="connsiteY48" fmla="*/ 172435 h 7031915"/>
                  <a:gd name="connsiteX49" fmla="*/ 1939656 w 8033654"/>
                  <a:gd name="connsiteY49" fmla="*/ 11959 h 7031915"/>
                  <a:gd name="connsiteX50" fmla="*/ 2058287 w 8033654"/>
                  <a:gd name="connsiteY50"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6480094 w 8033654"/>
                  <a:gd name="connsiteY10" fmla="*/ 292278 h 7031915"/>
                  <a:gd name="connsiteX11" fmla="*/ 7949332 w 8033654"/>
                  <a:gd name="connsiteY11" fmla="*/ 3216682 h 7031915"/>
                  <a:gd name="connsiteX12" fmla="*/ 7992299 w 8033654"/>
                  <a:gd name="connsiteY12" fmla="*/ 3302616 h 7031915"/>
                  <a:gd name="connsiteX13" fmla="*/ 8021693 w 8033654"/>
                  <a:gd name="connsiteY13" fmla="*/ 3397306 h 7031915"/>
                  <a:gd name="connsiteX14" fmla="*/ 8033654 w 8033654"/>
                  <a:gd name="connsiteY14" fmla="*/ 3515957 h 7031915"/>
                  <a:gd name="connsiteX15" fmla="*/ 8021693 w 8033654"/>
                  <a:gd name="connsiteY15" fmla="*/ 3634608 h 7031915"/>
                  <a:gd name="connsiteX16" fmla="*/ 7992299 w 8033654"/>
                  <a:gd name="connsiteY16" fmla="*/ 3729298 h 7031915"/>
                  <a:gd name="connsiteX17" fmla="*/ 7949332 w 8033654"/>
                  <a:gd name="connsiteY17" fmla="*/ 3815232 h 7031915"/>
                  <a:gd name="connsiteX18" fmla="*/ 6535055 w 8033654"/>
                  <a:gd name="connsiteY18" fmla="*/ 6638796 h 7031915"/>
                  <a:gd name="connsiteX19" fmla="*/ 6524461 w 8033654"/>
                  <a:gd name="connsiteY19" fmla="*/ 6646190 h 7031915"/>
                  <a:gd name="connsiteX20" fmla="*/ 6482456 w 8033654"/>
                  <a:gd name="connsiteY20" fmla="*/ 6736229 h 7031915"/>
                  <a:gd name="connsiteX21" fmla="*/ 6090371 w 8033654"/>
                  <a:gd name="connsiteY21" fmla="*/ 7019956 h 7031915"/>
                  <a:gd name="connsiteX22" fmla="*/ 5971740 w 8033654"/>
                  <a:gd name="connsiteY22" fmla="*/ 7031915 h 7031915"/>
                  <a:gd name="connsiteX23" fmla="*/ 5971700 w 8033654"/>
                  <a:gd name="connsiteY23" fmla="*/ 7031915 h 7031915"/>
                  <a:gd name="connsiteX24" fmla="*/ 2058326 w 8033654"/>
                  <a:gd name="connsiteY24" fmla="*/ 7031915 h 7031915"/>
                  <a:gd name="connsiteX25" fmla="*/ 2176958 w 8033654"/>
                  <a:gd name="connsiteY25" fmla="*/ 7019956 h 7031915"/>
                  <a:gd name="connsiteX26" fmla="*/ 2176957 w 8033654"/>
                  <a:gd name="connsiteY26" fmla="*/ 7019956 h 7031915"/>
                  <a:gd name="connsiteX27" fmla="*/ 2058326 w 8033654"/>
                  <a:gd name="connsiteY27" fmla="*/ 7031915 h 7031915"/>
                  <a:gd name="connsiteX28" fmla="*/ 2058286 w 8033654"/>
                  <a:gd name="connsiteY28" fmla="*/ 7031915 h 7031915"/>
                  <a:gd name="connsiteX29" fmla="*/ 1939655 w 8033654"/>
                  <a:gd name="connsiteY29" fmla="*/ 7019956 h 7031915"/>
                  <a:gd name="connsiteX30" fmla="*/ 1642007 w 8033654"/>
                  <a:gd name="connsiteY30" fmla="*/ 6859480 h 7031915"/>
                  <a:gd name="connsiteX31" fmla="*/ 1570173 w 8033654"/>
                  <a:gd name="connsiteY31" fmla="*/ 6772417 h 7031915"/>
                  <a:gd name="connsiteX32" fmla="*/ 1508795 w 8033654"/>
                  <a:gd name="connsiteY32" fmla="*/ 6649661 h 7031915"/>
                  <a:gd name="connsiteX33" fmla="*/ 1508794 w 8033654"/>
                  <a:gd name="connsiteY33" fmla="*/ 6649657 h 7031915"/>
                  <a:gd name="connsiteX34" fmla="*/ 115723 w 8033654"/>
                  <a:gd name="connsiteY34" fmla="*/ 3863519 h 7031915"/>
                  <a:gd name="connsiteX35" fmla="*/ 115722 w 8033654"/>
                  <a:gd name="connsiteY35" fmla="*/ 3863518 h 7031915"/>
                  <a:gd name="connsiteX36" fmla="*/ 29470 w 8033654"/>
                  <a:gd name="connsiteY36" fmla="*/ 3691014 h 7031915"/>
                  <a:gd name="connsiteX37" fmla="*/ 11962 w 8033654"/>
                  <a:gd name="connsiteY37" fmla="*/ 3634608 h 7031915"/>
                  <a:gd name="connsiteX38" fmla="*/ 0 w 8033654"/>
                  <a:gd name="connsiteY38" fmla="*/ 3515957 h 7031915"/>
                  <a:gd name="connsiteX39" fmla="*/ 11962 w 8033654"/>
                  <a:gd name="connsiteY39" fmla="*/ 3397306 h 7031915"/>
                  <a:gd name="connsiteX40" fmla="*/ 29470 w 8033654"/>
                  <a:gd name="connsiteY40" fmla="*/ 3340901 h 7031915"/>
                  <a:gd name="connsiteX41" fmla="*/ 115722 w 8033654"/>
                  <a:gd name="connsiteY41" fmla="*/ 3168396 h 7031915"/>
                  <a:gd name="connsiteX42" fmla="*/ 115723 w 8033654"/>
                  <a:gd name="connsiteY42" fmla="*/ 3168396 h 7031915"/>
                  <a:gd name="connsiteX43" fmla="*/ 1508796 w 8033654"/>
                  <a:gd name="connsiteY43" fmla="*/ 382255 h 7031915"/>
                  <a:gd name="connsiteX44" fmla="*/ 1570174 w 8033654"/>
                  <a:gd name="connsiteY44" fmla="*/ 259499 h 7031915"/>
                  <a:gd name="connsiteX45" fmla="*/ 1642008 w 8033654"/>
                  <a:gd name="connsiteY45" fmla="*/ 172435 h 7031915"/>
                  <a:gd name="connsiteX46" fmla="*/ 1939656 w 8033654"/>
                  <a:gd name="connsiteY46" fmla="*/ 11959 h 7031915"/>
                  <a:gd name="connsiteX47" fmla="*/ 2058287 w 8033654"/>
                  <a:gd name="connsiteY47"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176957 w 8033654"/>
                  <a:gd name="connsiteY25" fmla="*/ 7019956 h 7031915"/>
                  <a:gd name="connsiteX26" fmla="*/ 2058326 w 8033654"/>
                  <a:gd name="connsiteY26" fmla="*/ 7031915 h 7031915"/>
                  <a:gd name="connsiteX27" fmla="*/ 2058286 w 8033654"/>
                  <a:gd name="connsiteY27" fmla="*/ 7031915 h 7031915"/>
                  <a:gd name="connsiteX28" fmla="*/ 1939655 w 8033654"/>
                  <a:gd name="connsiteY28" fmla="*/ 7019956 h 7031915"/>
                  <a:gd name="connsiteX29" fmla="*/ 1642007 w 8033654"/>
                  <a:gd name="connsiteY29" fmla="*/ 6859480 h 7031915"/>
                  <a:gd name="connsiteX30" fmla="*/ 1570173 w 8033654"/>
                  <a:gd name="connsiteY30" fmla="*/ 6772417 h 7031915"/>
                  <a:gd name="connsiteX31" fmla="*/ 1508795 w 8033654"/>
                  <a:gd name="connsiteY31" fmla="*/ 6649661 h 7031915"/>
                  <a:gd name="connsiteX32" fmla="*/ 1508794 w 8033654"/>
                  <a:gd name="connsiteY32" fmla="*/ 6649657 h 7031915"/>
                  <a:gd name="connsiteX33" fmla="*/ 115723 w 8033654"/>
                  <a:gd name="connsiteY33" fmla="*/ 3863519 h 7031915"/>
                  <a:gd name="connsiteX34" fmla="*/ 115722 w 8033654"/>
                  <a:gd name="connsiteY34" fmla="*/ 3863518 h 7031915"/>
                  <a:gd name="connsiteX35" fmla="*/ 29470 w 8033654"/>
                  <a:gd name="connsiteY35" fmla="*/ 3691014 h 7031915"/>
                  <a:gd name="connsiteX36" fmla="*/ 11962 w 8033654"/>
                  <a:gd name="connsiteY36" fmla="*/ 3634608 h 7031915"/>
                  <a:gd name="connsiteX37" fmla="*/ 0 w 8033654"/>
                  <a:gd name="connsiteY37" fmla="*/ 3515957 h 7031915"/>
                  <a:gd name="connsiteX38" fmla="*/ 11962 w 8033654"/>
                  <a:gd name="connsiteY38" fmla="*/ 3397306 h 7031915"/>
                  <a:gd name="connsiteX39" fmla="*/ 29470 w 8033654"/>
                  <a:gd name="connsiteY39" fmla="*/ 3340901 h 7031915"/>
                  <a:gd name="connsiteX40" fmla="*/ 115722 w 8033654"/>
                  <a:gd name="connsiteY40" fmla="*/ 3168396 h 7031915"/>
                  <a:gd name="connsiteX41" fmla="*/ 115723 w 8033654"/>
                  <a:gd name="connsiteY41" fmla="*/ 3168396 h 7031915"/>
                  <a:gd name="connsiteX42" fmla="*/ 1508796 w 8033654"/>
                  <a:gd name="connsiteY42" fmla="*/ 382255 h 7031915"/>
                  <a:gd name="connsiteX43" fmla="*/ 1570174 w 8033654"/>
                  <a:gd name="connsiteY43" fmla="*/ 259499 h 7031915"/>
                  <a:gd name="connsiteX44" fmla="*/ 1642008 w 8033654"/>
                  <a:gd name="connsiteY44" fmla="*/ 172435 h 7031915"/>
                  <a:gd name="connsiteX45" fmla="*/ 1939656 w 8033654"/>
                  <a:gd name="connsiteY45" fmla="*/ 11959 h 7031915"/>
                  <a:gd name="connsiteX46" fmla="*/ 2058287 w 8033654"/>
                  <a:gd name="connsiteY46"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058326 w 8033654"/>
                  <a:gd name="connsiteY25" fmla="*/ 7031915 h 7031915"/>
                  <a:gd name="connsiteX26" fmla="*/ 2058286 w 8033654"/>
                  <a:gd name="connsiteY26" fmla="*/ 7031915 h 7031915"/>
                  <a:gd name="connsiteX27" fmla="*/ 1939655 w 8033654"/>
                  <a:gd name="connsiteY27" fmla="*/ 7019956 h 7031915"/>
                  <a:gd name="connsiteX28" fmla="*/ 1642007 w 8033654"/>
                  <a:gd name="connsiteY28" fmla="*/ 6859480 h 7031915"/>
                  <a:gd name="connsiteX29" fmla="*/ 1570173 w 8033654"/>
                  <a:gd name="connsiteY29" fmla="*/ 6772417 h 7031915"/>
                  <a:gd name="connsiteX30" fmla="*/ 1508795 w 8033654"/>
                  <a:gd name="connsiteY30" fmla="*/ 6649661 h 7031915"/>
                  <a:gd name="connsiteX31" fmla="*/ 1508794 w 8033654"/>
                  <a:gd name="connsiteY31" fmla="*/ 6649657 h 7031915"/>
                  <a:gd name="connsiteX32" fmla="*/ 115723 w 8033654"/>
                  <a:gd name="connsiteY32" fmla="*/ 3863519 h 7031915"/>
                  <a:gd name="connsiteX33" fmla="*/ 115722 w 8033654"/>
                  <a:gd name="connsiteY33" fmla="*/ 3863518 h 7031915"/>
                  <a:gd name="connsiteX34" fmla="*/ 29470 w 8033654"/>
                  <a:gd name="connsiteY34" fmla="*/ 3691014 h 7031915"/>
                  <a:gd name="connsiteX35" fmla="*/ 11962 w 8033654"/>
                  <a:gd name="connsiteY35" fmla="*/ 3634608 h 7031915"/>
                  <a:gd name="connsiteX36" fmla="*/ 0 w 8033654"/>
                  <a:gd name="connsiteY36" fmla="*/ 3515957 h 7031915"/>
                  <a:gd name="connsiteX37" fmla="*/ 11962 w 8033654"/>
                  <a:gd name="connsiteY37" fmla="*/ 3397306 h 7031915"/>
                  <a:gd name="connsiteX38" fmla="*/ 29470 w 8033654"/>
                  <a:gd name="connsiteY38" fmla="*/ 3340901 h 7031915"/>
                  <a:gd name="connsiteX39" fmla="*/ 115722 w 8033654"/>
                  <a:gd name="connsiteY39" fmla="*/ 3168396 h 7031915"/>
                  <a:gd name="connsiteX40" fmla="*/ 115723 w 8033654"/>
                  <a:gd name="connsiteY40" fmla="*/ 3168396 h 7031915"/>
                  <a:gd name="connsiteX41" fmla="*/ 1508796 w 8033654"/>
                  <a:gd name="connsiteY41" fmla="*/ 382255 h 7031915"/>
                  <a:gd name="connsiteX42" fmla="*/ 1570174 w 8033654"/>
                  <a:gd name="connsiteY42" fmla="*/ 259499 h 7031915"/>
                  <a:gd name="connsiteX43" fmla="*/ 1642008 w 8033654"/>
                  <a:gd name="connsiteY43" fmla="*/ 172435 h 7031915"/>
                  <a:gd name="connsiteX44" fmla="*/ 1939656 w 8033654"/>
                  <a:gd name="connsiteY44" fmla="*/ 11959 h 7031915"/>
                  <a:gd name="connsiteX45" fmla="*/ 2058287 w 8033654"/>
                  <a:gd name="connsiteY45"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058326 w 8033654"/>
                  <a:gd name="connsiteY24" fmla="*/ 7031915 h 7031915"/>
                  <a:gd name="connsiteX25" fmla="*/ 2058286 w 8033654"/>
                  <a:gd name="connsiteY25" fmla="*/ 7031915 h 7031915"/>
                  <a:gd name="connsiteX26" fmla="*/ 1939655 w 8033654"/>
                  <a:gd name="connsiteY26" fmla="*/ 7019956 h 7031915"/>
                  <a:gd name="connsiteX27" fmla="*/ 1642007 w 8033654"/>
                  <a:gd name="connsiteY27" fmla="*/ 6859480 h 7031915"/>
                  <a:gd name="connsiteX28" fmla="*/ 1570173 w 8033654"/>
                  <a:gd name="connsiteY28" fmla="*/ 6772417 h 7031915"/>
                  <a:gd name="connsiteX29" fmla="*/ 1508795 w 8033654"/>
                  <a:gd name="connsiteY29" fmla="*/ 6649661 h 7031915"/>
                  <a:gd name="connsiteX30" fmla="*/ 1508794 w 8033654"/>
                  <a:gd name="connsiteY30" fmla="*/ 6649657 h 7031915"/>
                  <a:gd name="connsiteX31" fmla="*/ 115723 w 8033654"/>
                  <a:gd name="connsiteY31" fmla="*/ 3863519 h 7031915"/>
                  <a:gd name="connsiteX32" fmla="*/ 115722 w 8033654"/>
                  <a:gd name="connsiteY32" fmla="*/ 3863518 h 7031915"/>
                  <a:gd name="connsiteX33" fmla="*/ 29470 w 8033654"/>
                  <a:gd name="connsiteY33" fmla="*/ 3691014 h 7031915"/>
                  <a:gd name="connsiteX34" fmla="*/ 11962 w 8033654"/>
                  <a:gd name="connsiteY34" fmla="*/ 3634608 h 7031915"/>
                  <a:gd name="connsiteX35" fmla="*/ 0 w 8033654"/>
                  <a:gd name="connsiteY35" fmla="*/ 3515957 h 7031915"/>
                  <a:gd name="connsiteX36" fmla="*/ 11962 w 8033654"/>
                  <a:gd name="connsiteY36" fmla="*/ 3397306 h 7031915"/>
                  <a:gd name="connsiteX37" fmla="*/ 29470 w 8033654"/>
                  <a:gd name="connsiteY37" fmla="*/ 3340901 h 7031915"/>
                  <a:gd name="connsiteX38" fmla="*/ 115722 w 8033654"/>
                  <a:gd name="connsiteY38" fmla="*/ 3168396 h 7031915"/>
                  <a:gd name="connsiteX39" fmla="*/ 115723 w 8033654"/>
                  <a:gd name="connsiteY39" fmla="*/ 3168396 h 7031915"/>
                  <a:gd name="connsiteX40" fmla="*/ 1508796 w 8033654"/>
                  <a:gd name="connsiteY40" fmla="*/ 382255 h 7031915"/>
                  <a:gd name="connsiteX41" fmla="*/ 1570174 w 8033654"/>
                  <a:gd name="connsiteY41" fmla="*/ 259499 h 7031915"/>
                  <a:gd name="connsiteX42" fmla="*/ 1642008 w 8033654"/>
                  <a:gd name="connsiteY42" fmla="*/ 172435 h 7031915"/>
                  <a:gd name="connsiteX43" fmla="*/ 1939656 w 8033654"/>
                  <a:gd name="connsiteY43" fmla="*/ 11959 h 7031915"/>
                  <a:gd name="connsiteX44" fmla="*/ 2058287 w 8033654"/>
                  <a:gd name="connsiteY44"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482456 w 8033654"/>
                  <a:gd name="connsiteY18" fmla="*/ 6736229 h 7031915"/>
                  <a:gd name="connsiteX19" fmla="*/ 6090371 w 8033654"/>
                  <a:gd name="connsiteY19" fmla="*/ 7019956 h 7031915"/>
                  <a:gd name="connsiteX20" fmla="*/ 5971740 w 8033654"/>
                  <a:gd name="connsiteY20" fmla="*/ 7031915 h 7031915"/>
                  <a:gd name="connsiteX21" fmla="*/ 5971700 w 8033654"/>
                  <a:gd name="connsiteY21" fmla="*/ 7031915 h 7031915"/>
                  <a:gd name="connsiteX22" fmla="*/ 2058326 w 8033654"/>
                  <a:gd name="connsiteY22" fmla="*/ 7031915 h 7031915"/>
                  <a:gd name="connsiteX23" fmla="*/ 2058326 w 8033654"/>
                  <a:gd name="connsiteY23" fmla="*/ 7031915 h 7031915"/>
                  <a:gd name="connsiteX24" fmla="*/ 2058286 w 8033654"/>
                  <a:gd name="connsiteY24" fmla="*/ 7031915 h 7031915"/>
                  <a:gd name="connsiteX25" fmla="*/ 1939655 w 8033654"/>
                  <a:gd name="connsiteY25" fmla="*/ 7019956 h 7031915"/>
                  <a:gd name="connsiteX26" fmla="*/ 1642007 w 8033654"/>
                  <a:gd name="connsiteY26" fmla="*/ 6859480 h 7031915"/>
                  <a:gd name="connsiteX27" fmla="*/ 1570173 w 8033654"/>
                  <a:gd name="connsiteY27" fmla="*/ 6772417 h 7031915"/>
                  <a:gd name="connsiteX28" fmla="*/ 1508795 w 8033654"/>
                  <a:gd name="connsiteY28" fmla="*/ 6649661 h 7031915"/>
                  <a:gd name="connsiteX29" fmla="*/ 1508794 w 8033654"/>
                  <a:gd name="connsiteY29" fmla="*/ 6649657 h 7031915"/>
                  <a:gd name="connsiteX30" fmla="*/ 115723 w 8033654"/>
                  <a:gd name="connsiteY30" fmla="*/ 3863519 h 7031915"/>
                  <a:gd name="connsiteX31" fmla="*/ 115722 w 8033654"/>
                  <a:gd name="connsiteY31" fmla="*/ 3863518 h 7031915"/>
                  <a:gd name="connsiteX32" fmla="*/ 29470 w 8033654"/>
                  <a:gd name="connsiteY32" fmla="*/ 3691014 h 7031915"/>
                  <a:gd name="connsiteX33" fmla="*/ 11962 w 8033654"/>
                  <a:gd name="connsiteY33" fmla="*/ 3634608 h 7031915"/>
                  <a:gd name="connsiteX34" fmla="*/ 0 w 8033654"/>
                  <a:gd name="connsiteY34" fmla="*/ 3515957 h 7031915"/>
                  <a:gd name="connsiteX35" fmla="*/ 11962 w 8033654"/>
                  <a:gd name="connsiteY35" fmla="*/ 3397306 h 7031915"/>
                  <a:gd name="connsiteX36" fmla="*/ 29470 w 8033654"/>
                  <a:gd name="connsiteY36" fmla="*/ 3340901 h 7031915"/>
                  <a:gd name="connsiteX37" fmla="*/ 115722 w 8033654"/>
                  <a:gd name="connsiteY37" fmla="*/ 3168396 h 7031915"/>
                  <a:gd name="connsiteX38" fmla="*/ 115723 w 8033654"/>
                  <a:gd name="connsiteY38" fmla="*/ 3168396 h 7031915"/>
                  <a:gd name="connsiteX39" fmla="*/ 1508796 w 8033654"/>
                  <a:gd name="connsiteY39" fmla="*/ 382255 h 7031915"/>
                  <a:gd name="connsiteX40" fmla="*/ 1570174 w 8033654"/>
                  <a:gd name="connsiteY40" fmla="*/ 259499 h 7031915"/>
                  <a:gd name="connsiteX41" fmla="*/ 1642008 w 8033654"/>
                  <a:gd name="connsiteY41" fmla="*/ 172435 h 7031915"/>
                  <a:gd name="connsiteX42" fmla="*/ 1939656 w 8033654"/>
                  <a:gd name="connsiteY42" fmla="*/ 11959 h 7031915"/>
                  <a:gd name="connsiteX43" fmla="*/ 2058287 w 8033654"/>
                  <a:gd name="connsiteY43"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482456 w 8033654"/>
                  <a:gd name="connsiteY17" fmla="*/ 6736229 h 7031915"/>
                  <a:gd name="connsiteX18" fmla="*/ 6090371 w 8033654"/>
                  <a:gd name="connsiteY18" fmla="*/ 7019956 h 7031915"/>
                  <a:gd name="connsiteX19" fmla="*/ 5971740 w 8033654"/>
                  <a:gd name="connsiteY19" fmla="*/ 7031915 h 7031915"/>
                  <a:gd name="connsiteX20" fmla="*/ 5971700 w 8033654"/>
                  <a:gd name="connsiteY20" fmla="*/ 7031915 h 7031915"/>
                  <a:gd name="connsiteX21" fmla="*/ 2058326 w 8033654"/>
                  <a:gd name="connsiteY21" fmla="*/ 7031915 h 7031915"/>
                  <a:gd name="connsiteX22" fmla="*/ 2058326 w 8033654"/>
                  <a:gd name="connsiteY22" fmla="*/ 7031915 h 7031915"/>
                  <a:gd name="connsiteX23" fmla="*/ 2058286 w 8033654"/>
                  <a:gd name="connsiteY23" fmla="*/ 7031915 h 7031915"/>
                  <a:gd name="connsiteX24" fmla="*/ 1939655 w 8033654"/>
                  <a:gd name="connsiteY24" fmla="*/ 7019956 h 7031915"/>
                  <a:gd name="connsiteX25" fmla="*/ 1642007 w 8033654"/>
                  <a:gd name="connsiteY25" fmla="*/ 6859480 h 7031915"/>
                  <a:gd name="connsiteX26" fmla="*/ 1570173 w 8033654"/>
                  <a:gd name="connsiteY26" fmla="*/ 6772417 h 7031915"/>
                  <a:gd name="connsiteX27" fmla="*/ 1508795 w 8033654"/>
                  <a:gd name="connsiteY27" fmla="*/ 6649661 h 7031915"/>
                  <a:gd name="connsiteX28" fmla="*/ 1508794 w 8033654"/>
                  <a:gd name="connsiteY28" fmla="*/ 6649657 h 7031915"/>
                  <a:gd name="connsiteX29" fmla="*/ 115723 w 8033654"/>
                  <a:gd name="connsiteY29" fmla="*/ 3863519 h 7031915"/>
                  <a:gd name="connsiteX30" fmla="*/ 115722 w 8033654"/>
                  <a:gd name="connsiteY30" fmla="*/ 3863518 h 7031915"/>
                  <a:gd name="connsiteX31" fmla="*/ 29470 w 8033654"/>
                  <a:gd name="connsiteY31" fmla="*/ 3691014 h 7031915"/>
                  <a:gd name="connsiteX32" fmla="*/ 11962 w 8033654"/>
                  <a:gd name="connsiteY32" fmla="*/ 3634608 h 7031915"/>
                  <a:gd name="connsiteX33" fmla="*/ 0 w 8033654"/>
                  <a:gd name="connsiteY33" fmla="*/ 3515957 h 7031915"/>
                  <a:gd name="connsiteX34" fmla="*/ 11962 w 8033654"/>
                  <a:gd name="connsiteY34" fmla="*/ 3397306 h 7031915"/>
                  <a:gd name="connsiteX35" fmla="*/ 29470 w 8033654"/>
                  <a:gd name="connsiteY35" fmla="*/ 3340901 h 7031915"/>
                  <a:gd name="connsiteX36" fmla="*/ 115722 w 8033654"/>
                  <a:gd name="connsiteY36" fmla="*/ 3168396 h 7031915"/>
                  <a:gd name="connsiteX37" fmla="*/ 115723 w 8033654"/>
                  <a:gd name="connsiteY37" fmla="*/ 3168396 h 7031915"/>
                  <a:gd name="connsiteX38" fmla="*/ 1508796 w 8033654"/>
                  <a:gd name="connsiteY38" fmla="*/ 382255 h 7031915"/>
                  <a:gd name="connsiteX39" fmla="*/ 1570174 w 8033654"/>
                  <a:gd name="connsiteY39" fmla="*/ 259499 h 7031915"/>
                  <a:gd name="connsiteX40" fmla="*/ 1642008 w 8033654"/>
                  <a:gd name="connsiteY40" fmla="*/ 172435 h 7031915"/>
                  <a:gd name="connsiteX41" fmla="*/ 1939656 w 8033654"/>
                  <a:gd name="connsiteY41" fmla="*/ 11959 h 7031915"/>
                  <a:gd name="connsiteX42" fmla="*/ 2058287 w 8033654"/>
                  <a:gd name="connsiteY42"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7949332 w 8033654"/>
                  <a:gd name="connsiteY9" fmla="*/ 3216682 h 7031915"/>
                  <a:gd name="connsiteX10" fmla="*/ 7992299 w 8033654"/>
                  <a:gd name="connsiteY10" fmla="*/ 3302616 h 7031915"/>
                  <a:gd name="connsiteX11" fmla="*/ 8021693 w 8033654"/>
                  <a:gd name="connsiteY11" fmla="*/ 3397306 h 7031915"/>
                  <a:gd name="connsiteX12" fmla="*/ 8033654 w 8033654"/>
                  <a:gd name="connsiteY12" fmla="*/ 3515957 h 7031915"/>
                  <a:gd name="connsiteX13" fmla="*/ 8021693 w 8033654"/>
                  <a:gd name="connsiteY13" fmla="*/ 3634608 h 7031915"/>
                  <a:gd name="connsiteX14" fmla="*/ 7992299 w 8033654"/>
                  <a:gd name="connsiteY14" fmla="*/ 3729298 h 7031915"/>
                  <a:gd name="connsiteX15" fmla="*/ 7949332 w 8033654"/>
                  <a:gd name="connsiteY15" fmla="*/ 3815232 h 7031915"/>
                  <a:gd name="connsiteX16" fmla="*/ 6482456 w 8033654"/>
                  <a:gd name="connsiteY16" fmla="*/ 6736229 h 7031915"/>
                  <a:gd name="connsiteX17" fmla="*/ 6090371 w 8033654"/>
                  <a:gd name="connsiteY17" fmla="*/ 7019956 h 7031915"/>
                  <a:gd name="connsiteX18" fmla="*/ 5971740 w 8033654"/>
                  <a:gd name="connsiteY18" fmla="*/ 7031915 h 7031915"/>
                  <a:gd name="connsiteX19" fmla="*/ 5971700 w 8033654"/>
                  <a:gd name="connsiteY19" fmla="*/ 7031915 h 7031915"/>
                  <a:gd name="connsiteX20" fmla="*/ 2058326 w 8033654"/>
                  <a:gd name="connsiteY20" fmla="*/ 7031915 h 7031915"/>
                  <a:gd name="connsiteX21" fmla="*/ 2058326 w 8033654"/>
                  <a:gd name="connsiteY21" fmla="*/ 7031915 h 7031915"/>
                  <a:gd name="connsiteX22" fmla="*/ 2058286 w 8033654"/>
                  <a:gd name="connsiteY22" fmla="*/ 7031915 h 7031915"/>
                  <a:gd name="connsiteX23" fmla="*/ 1939655 w 8033654"/>
                  <a:gd name="connsiteY23" fmla="*/ 7019956 h 7031915"/>
                  <a:gd name="connsiteX24" fmla="*/ 1642007 w 8033654"/>
                  <a:gd name="connsiteY24" fmla="*/ 6859480 h 7031915"/>
                  <a:gd name="connsiteX25" fmla="*/ 1570173 w 8033654"/>
                  <a:gd name="connsiteY25" fmla="*/ 6772417 h 7031915"/>
                  <a:gd name="connsiteX26" fmla="*/ 1508795 w 8033654"/>
                  <a:gd name="connsiteY26" fmla="*/ 6649661 h 7031915"/>
                  <a:gd name="connsiteX27" fmla="*/ 1508794 w 8033654"/>
                  <a:gd name="connsiteY27" fmla="*/ 6649657 h 7031915"/>
                  <a:gd name="connsiteX28" fmla="*/ 115723 w 8033654"/>
                  <a:gd name="connsiteY28" fmla="*/ 3863519 h 7031915"/>
                  <a:gd name="connsiteX29" fmla="*/ 115722 w 8033654"/>
                  <a:gd name="connsiteY29" fmla="*/ 3863518 h 7031915"/>
                  <a:gd name="connsiteX30" fmla="*/ 29470 w 8033654"/>
                  <a:gd name="connsiteY30" fmla="*/ 3691014 h 7031915"/>
                  <a:gd name="connsiteX31" fmla="*/ 11962 w 8033654"/>
                  <a:gd name="connsiteY31" fmla="*/ 3634608 h 7031915"/>
                  <a:gd name="connsiteX32" fmla="*/ 0 w 8033654"/>
                  <a:gd name="connsiteY32" fmla="*/ 3515957 h 7031915"/>
                  <a:gd name="connsiteX33" fmla="*/ 11962 w 8033654"/>
                  <a:gd name="connsiteY33" fmla="*/ 3397306 h 7031915"/>
                  <a:gd name="connsiteX34" fmla="*/ 29470 w 8033654"/>
                  <a:gd name="connsiteY34" fmla="*/ 3340901 h 7031915"/>
                  <a:gd name="connsiteX35" fmla="*/ 115722 w 8033654"/>
                  <a:gd name="connsiteY35" fmla="*/ 3168396 h 7031915"/>
                  <a:gd name="connsiteX36" fmla="*/ 115723 w 8033654"/>
                  <a:gd name="connsiteY36" fmla="*/ 3168396 h 7031915"/>
                  <a:gd name="connsiteX37" fmla="*/ 1508796 w 8033654"/>
                  <a:gd name="connsiteY37" fmla="*/ 382255 h 7031915"/>
                  <a:gd name="connsiteX38" fmla="*/ 1570174 w 8033654"/>
                  <a:gd name="connsiteY38" fmla="*/ 259499 h 7031915"/>
                  <a:gd name="connsiteX39" fmla="*/ 1642008 w 8033654"/>
                  <a:gd name="connsiteY39" fmla="*/ 172435 h 7031915"/>
                  <a:gd name="connsiteX40" fmla="*/ 1939656 w 8033654"/>
                  <a:gd name="connsiteY40" fmla="*/ 11959 h 7031915"/>
                  <a:gd name="connsiteX41" fmla="*/ 2058287 w 8033654"/>
                  <a:gd name="connsiteY41" fmla="*/ 0 h 703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33654" h="7031915">
                    <a:moveTo>
                      <a:pt x="2058287" y="0"/>
                    </a:moveTo>
                    <a:lnTo>
                      <a:pt x="2058326" y="0"/>
                    </a:lnTo>
                    <a:lnTo>
                      <a:pt x="5971699" y="0"/>
                    </a:lnTo>
                    <a:lnTo>
                      <a:pt x="5971700" y="0"/>
                    </a:lnTo>
                    <a:lnTo>
                      <a:pt x="5971740" y="0"/>
                    </a:lnTo>
                    <a:lnTo>
                      <a:pt x="6090371" y="11959"/>
                    </a:lnTo>
                    <a:cubicBezTo>
                      <a:pt x="6190975" y="32545"/>
                      <a:pt x="6282232" y="78792"/>
                      <a:pt x="6357004" y="143562"/>
                    </a:cubicBezTo>
                    <a:lnTo>
                      <a:pt x="6421756" y="209878"/>
                    </a:lnTo>
                    <a:lnTo>
                      <a:pt x="6426018" y="214243"/>
                    </a:lnTo>
                    <a:lnTo>
                      <a:pt x="7949332" y="3216682"/>
                    </a:lnTo>
                    <a:lnTo>
                      <a:pt x="7992299" y="3302616"/>
                    </a:lnTo>
                    <a:lnTo>
                      <a:pt x="8021693" y="3397306"/>
                    </a:lnTo>
                    <a:cubicBezTo>
                      <a:pt x="8029535" y="3435632"/>
                      <a:pt x="8033654" y="3475313"/>
                      <a:pt x="8033654" y="3515957"/>
                    </a:cubicBezTo>
                    <a:cubicBezTo>
                      <a:pt x="8033654" y="3556601"/>
                      <a:pt x="8029535" y="3596283"/>
                      <a:pt x="8021693" y="3634608"/>
                    </a:cubicBezTo>
                    <a:lnTo>
                      <a:pt x="7992299" y="3729298"/>
                    </a:lnTo>
                    <a:lnTo>
                      <a:pt x="7949332" y="3815232"/>
                    </a:lnTo>
                    <a:lnTo>
                      <a:pt x="6482456" y="6736229"/>
                    </a:lnTo>
                    <a:cubicBezTo>
                      <a:pt x="6399753" y="6880056"/>
                      <a:pt x="6258044" y="6985646"/>
                      <a:pt x="6090371" y="7019956"/>
                    </a:cubicBezTo>
                    <a:lnTo>
                      <a:pt x="5971740" y="7031915"/>
                    </a:lnTo>
                    <a:lnTo>
                      <a:pt x="5971700" y="7031915"/>
                    </a:lnTo>
                    <a:lnTo>
                      <a:pt x="2058326" y="7031915"/>
                    </a:lnTo>
                    <a:lnTo>
                      <a:pt x="2058326" y="7031915"/>
                    </a:lnTo>
                    <a:lnTo>
                      <a:pt x="2058286" y="7031915"/>
                    </a:lnTo>
                    <a:lnTo>
                      <a:pt x="1939655" y="7019956"/>
                    </a:lnTo>
                    <a:cubicBezTo>
                      <a:pt x="1824680" y="6996429"/>
                      <a:pt x="1721912" y="6939386"/>
                      <a:pt x="1642007" y="6859480"/>
                    </a:cubicBezTo>
                    <a:lnTo>
                      <a:pt x="1570173" y="6772417"/>
                    </a:lnTo>
                    <a:lnTo>
                      <a:pt x="1508795" y="6649661"/>
                    </a:lnTo>
                    <a:cubicBezTo>
                      <a:pt x="1508795" y="6649660"/>
                      <a:pt x="1508794" y="6649658"/>
                      <a:pt x="1508794" y="6649657"/>
                    </a:cubicBezTo>
                    <a:lnTo>
                      <a:pt x="115723" y="3863519"/>
                    </a:lnTo>
                    <a:lnTo>
                      <a:pt x="115722" y="3863518"/>
                    </a:lnTo>
                    <a:lnTo>
                      <a:pt x="29470" y="3691014"/>
                    </a:lnTo>
                    <a:lnTo>
                      <a:pt x="11962" y="3634608"/>
                    </a:lnTo>
                    <a:cubicBezTo>
                      <a:pt x="4119" y="3596283"/>
                      <a:pt x="0" y="3556601"/>
                      <a:pt x="0" y="3515957"/>
                    </a:cubicBezTo>
                    <a:cubicBezTo>
                      <a:pt x="0" y="3475313"/>
                      <a:pt x="4119" y="3435632"/>
                      <a:pt x="11962" y="3397306"/>
                    </a:cubicBezTo>
                    <a:lnTo>
                      <a:pt x="29470" y="3340901"/>
                    </a:lnTo>
                    <a:lnTo>
                      <a:pt x="115722" y="3168396"/>
                    </a:lnTo>
                    <a:lnTo>
                      <a:pt x="115723" y="3168396"/>
                    </a:lnTo>
                    <a:lnTo>
                      <a:pt x="1508796" y="382255"/>
                    </a:lnTo>
                    <a:lnTo>
                      <a:pt x="1570174" y="259499"/>
                    </a:lnTo>
                    <a:lnTo>
                      <a:pt x="1642008" y="172435"/>
                    </a:lnTo>
                    <a:cubicBezTo>
                      <a:pt x="1721913" y="92530"/>
                      <a:pt x="1824680" y="35486"/>
                      <a:pt x="1939656" y="11959"/>
                    </a:cubicBezTo>
                    <a:lnTo>
                      <a:pt x="2058287" y="0"/>
                    </a:lnTo>
                    <a:close/>
                  </a:path>
                </a:pathLst>
              </a:custGeom>
              <a:noFill/>
              <a:ln w="381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6" name="ïSļíḍe">
                <a:extLst>
                  <a:ext uri="{FF2B5EF4-FFF2-40B4-BE49-F238E27FC236}">
                    <a16:creationId xmlns:a16="http://schemas.microsoft.com/office/drawing/2014/main" id="{E84B3C7A-3F77-4D0C-9996-141B7DA7FACA}"/>
                  </a:ext>
                </a:extLst>
              </p:cNvPr>
              <p:cNvSpPr/>
              <p:nvPr/>
            </p:nvSpPr>
            <p:spPr>
              <a:xfrm>
                <a:off x="2091159" y="4863040"/>
                <a:ext cx="839718" cy="304938"/>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400" dirty="0">
                    <a:solidFill>
                      <a:schemeClr val="bg1"/>
                    </a:solidFill>
                  </a:rPr>
                  <a:t>03</a:t>
                </a:r>
                <a:endParaRPr lang="zh-CN" altLang="en-US" sz="1400" dirty="0">
                  <a:solidFill>
                    <a:schemeClr val="bg1"/>
                  </a:solidFill>
                </a:endParaRPr>
              </a:p>
            </p:txBody>
          </p:sp>
          <p:sp>
            <p:nvSpPr>
              <p:cNvPr id="17" name="iṥļîdé">
                <a:extLst>
                  <a:ext uri="{FF2B5EF4-FFF2-40B4-BE49-F238E27FC236}">
                    <a16:creationId xmlns:a16="http://schemas.microsoft.com/office/drawing/2014/main" id="{F6A8B586-466C-4D7F-8F1A-EB23C23EBEB5}"/>
                  </a:ext>
                </a:extLst>
              </p:cNvPr>
              <p:cNvSpPr/>
              <p:nvPr/>
            </p:nvSpPr>
            <p:spPr bwMode="auto">
              <a:xfrm>
                <a:off x="2306266" y="2389675"/>
                <a:ext cx="409502" cy="435610"/>
              </a:xfrm>
              <a:custGeom>
                <a:avLst/>
                <a:gdLst>
                  <a:gd name="connsiteX0" fmla="*/ 283988 w 567904"/>
                  <a:gd name="connsiteY0" fmla="*/ 165481 h 604115"/>
                  <a:gd name="connsiteX1" fmla="*/ 299163 w 567904"/>
                  <a:gd name="connsiteY1" fmla="*/ 180516 h 604115"/>
                  <a:gd name="connsiteX2" fmla="*/ 299163 w 567904"/>
                  <a:gd name="connsiteY2" fmla="*/ 272309 h 604115"/>
                  <a:gd name="connsiteX3" fmla="*/ 307657 w 567904"/>
                  <a:gd name="connsiteY3" fmla="*/ 280788 h 604115"/>
                  <a:gd name="connsiteX4" fmla="*/ 366094 w 567904"/>
                  <a:gd name="connsiteY4" fmla="*/ 280788 h 604115"/>
                  <a:gd name="connsiteX5" fmla="*/ 381156 w 567904"/>
                  <a:gd name="connsiteY5" fmla="*/ 295936 h 604115"/>
                  <a:gd name="connsiteX6" fmla="*/ 366094 w 567904"/>
                  <a:gd name="connsiteY6" fmla="*/ 310971 h 604115"/>
                  <a:gd name="connsiteX7" fmla="*/ 307657 w 567904"/>
                  <a:gd name="connsiteY7" fmla="*/ 310971 h 604115"/>
                  <a:gd name="connsiteX8" fmla="*/ 283988 w 567904"/>
                  <a:gd name="connsiteY8" fmla="*/ 323971 h 604115"/>
                  <a:gd name="connsiteX9" fmla="*/ 255902 w 567904"/>
                  <a:gd name="connsiteY9" fmla="*/ 295936 h 604115"/>
                  <a:gd name="connsiteX10" fmla="*/ 268926 w 567904"/>
                  <a:gd name="connsiteY10" fmla="*/ 272309 h 604115"/>
                  <a:gd name="connsiteX11" fmla="*/ 268926 w 567904"/>
                  <a:gd name="connsiteY11" fmla="*/ 180516 h 604115"/>
                  <a:gd name="connsiteX12" fmla="*/ 283988 w 567904"/>
                  <a:gd name="connsiteY12" fmla="*/ 165481 h 604115"/>
                  <a:gd name="connsiteX13" fmla="*/ 268839 w 567904"/>
                  <a:gd name="connsiteY13" fmla="*/ 63180 h 604115"/>
                  <a:gd name="connsiteX14" fmla="*/ 131858 w 567904"/>
                  <a:gd name="connsiteY14" fmla="*/ 122631 h 604115"/>
                  <a:gd name="connsiteX15" fmla="*/ 178160 w 567904"/>
                  <a:gd name="connsiteY15" fmla="*/ 168971 h 604115"/>
                  <a:gd name="connsiteX16" fmla="*/ 178160 w 567904"/>
                  <a:gd name="connsiteY16" fmla="*/ 190220 h 604115"/>
                  <a:gd name="connsiteX17" fmla="*/ 167518 w 567904"/>
                  <a:gd name="connsiteY17" fmla="*/ 194628 h 604115"/>
                  <a:gd name="connsiteX18" fmla="*/ 156877 w 567904"/>
                  <a:gd name="connsiteY18" fmla="*/ 190220 h 604115"/>
                  <a:gd name="connsiteX19" fmla="*/ 111254 w 567904"/>
                  <a:gd name="connsiteY19" fmla="*/ 144671 h 604115"/>
                  <a:gd name="connsiteX20" fmla="*/ 61216 w 567904"/>
                  <a:gd name="connsiteY20" fmla="*/ 280752 h 604115"/>
                  <a:gd name="connsiteX21" fmla="*/ 119292 w 567904"/>
                  <a:gd name="connsiteY21" fmla="*/ 280752 h 604115"/>
                  <a:gd name="connsiteX22" fmla="*/ 134348 w 567904"/>
                  <a:gd name="connsiteY22" fmla="*/ 295898 h 604115"/>
                  <a:gd name="connsiteX23" fmla="*/ 119292 w 567904"/>
                  <a:gd name="connsiteY23" fmla="*/ 310930 h 604115"/>
                  <a:gd name="connsiteX24" fmla="*/ 62688 w 567904"/>
                  <a:gd name="connsiteY24" fmla="*/ 310930 h 604115"/>
                  <a:gd name="connsiteX25" fmla="*/ 121330 w 567904"/>
                  <a:gd name="connsiteY25" fmla="*/ 436952 h 604115"/>
                  <a:gd name="connsiteX26" fmla="*/ 156877 w 567904"/>
                  <a:gd name="connsiteY26" fmla="*/ 401462 h 604115"/>
                  <a:gd name="connsiteX27" fmla="*/ 178160 w 567904"/>
                  <a:gd name="connsiteY27" fmla="*/ 401462 h 604115"/>
                  <a:gd name="connsiteX28" fmla="*/ 178160 w 567904"/>
                  <a:gd name="connsiteY28" fmla="*/ 422824 h 604115"/>
                  <a:gd name="connsiteX29" fmla="*/ 143405 w 567904"/>
                  <a:gd name="connsiteY29" fmla="*/ 457523 h 604115"/>
                  <a:gd name="connsiteX30" fmla="*/ 268839 w 567904"/>
                  <a:gd name="connsiteY30" fmla="*/ 507027 h 604115"/>
                  <a:gd name="connsiteX31" fmla="*/ 268839 w 567904"/>
                  <a:gd name="connsiteY31" fmla="*/ 460235 h 604115"/>
                  <a:gd name="connsiteX32" fmla="*/ 284009 w 567904"/>
                  <a:gd name="connsiteY32" fmla="*/ 445203 h 604115"/>
                  <a:gd name="connsiteX33" fmla="*/ 299065 w 567904"/>
                  <a:gd name="connsiteY33" fmla="*/ 460235 h 604115"/>
                  <a:gd name="connsiteX34" fmla="*/ 299065 w 567904"/>
                  <a:gd name="connsiteY34" fmla="*/ 507027 h 604115"/>
                  <a:gd name="connsiteX35" fmla="*/ 424612 w 567904"/>
                  <a:gd name="connsiteY35" fmla="*/ 457523 h 604115"/>
                  <a:gd name="connsiteX36" fmla="*/ 389744 w 567904"/>
                  <a:gd name="connsiteY36" fmla="*/ 422824 h 604115"/>
                  <a:gd name="connsiteX37" fmla="*/ 389744 w 567904"/>
                  <a:gd name="connsiteY37" fmla="*/ 401462 h 604115"/>
                  <a:gd name="connsiteX38" fmla="*/ 411141 w 567904"/>
                  <a:gd name="connsiteY38" fmla="*/ 401462 h 604115"/>
                  <a:gd name="connsiteX39" fmla="*/ 446688 w 567904"/>
                  <a:gd name="connsiteY39" fmla="*/ 436952 h 604115"/>
                  <a:gd name="connsiteX40" fmla="*/ 505329 w 567904"/>
                  <a:gd name="connsiteY40" fmla="*/ 310930 h 604115"/>
                  <a:gd name="connsiteX41" fmla="*/ 448612 w 567904"/>
                  <a:gd name="connsiteY41" fmla="*/ 310930 h 604115"/>
                  <a:gd name="connsiteX42" fmla="*/ 433556 w 567904"/>
                  <a:gd name="connsiteY42" fmla="*/ 295898 h 604115"/>
                  <a:gd name="connsiteX43" fmla="*/ 448612 w 567904"/>
                  <a:gd name="connsiteY43" fmla="*/ 280752 h 604115"/>
                  <a:gd name="connsiteX44" fmla="*/ 506801 w 567904"/>
                  <a:gd name="connsiteY44" fmla="*/ 280752 h 604115"/>
                  <a:gd name="connsiteX45" fmla="*/ 456650 w 567904"/>
                  <a:gd name="connsiteY45" fmla="*/ 144671 h 604115"/>
                  <a:gd name="connsiteX46" fmla="*/ 411141 w 567904"/>
                  <a:gd name="connsiteY46" fmla="*/ 190220 h 604115"/>
                  <a:gd name="connsiteX47" fmla="*/ 400386 w 567904"/>
                  <a:gd name="connsiteY47" fmla="*/ 194628 h 604115"/>
                  <a:gd name="connsiteX48" fmla="*/ 389744 w 567904"/>
                  <a:gd name="connsiteY48" fmla="*/ 190220 h 604115"/>
                  <a:gd name="connsiteX49" fmla="*/ 389744 w 567904"/>
                  <a:gd name="connsiteY49" fmla="*/ 168971 h 604115"/>
                  <a:gd name="connsiteX50" fmla="*/ 436046 w 567904"/>
                  <a:gd name="connsiteY50" fmla="*/ 122631 h 604115"/>
                  <a:gd name="connsiteX51" fmla="*/ 299065 w 567904"/>
                  <a:gd name="connsiteY51" fmla="*/ 63180 h 604115"/>
                  <a:gd name="connsiteX52" fmla="*/ 299065 w 567904"/>
                  <a:gd name="connsiteY52" fmla="*/ 131447 h 604115"/>
                  <a:gd name="connsiteX53" fmla="*/ 284009 w 567904"/>
                  <a:gd name="connsiteY53" fmla="*/ 146479 h 604115"/>
                  <a:gd name="connsiteX54" fmla="*/ 268839 w 567904"/>
                  <a:gd name="connsiteY54" fmla="*/ 131447 h 604115"/>
                  <a:gd name="connsiteX55" fmla="*/ 90594 w 567904"/>
                  <a:gd name="connsiteY55" fmla="*/ 0 h 604115"/>
                  <a:gd name="connsiteX56" fmla="*/ 154613 w 567904"/>
                  <a:gd name="connsiteY56" fmla="*/ 26448 h 604115"/>
                  <a:gd name="connsiteX57" fmla="*/ 125179 w 567904"/>
                  <a:gd name="connsiteY57" fmla="*/ 55947 h 604115"/>
                  <a:gd name="connsiteX58" fmla="*/ 284009 w 567904"/>
                  <a:gd name="connsiteY58" fmla="*/ 6329 h 604115"/>
                  <a:gd name="connsiteX59" fmla="*/ 442839 w 567904"/>
                  <a:gd name="connsiteY59" fmla="*/ 55947 h 604115"/>
                  <a:gd name="connsiteX60" fmla="*/ 413291 w 567904"/>
                  <a:gd name="connsiteY60" fmla="*/ 26448 h 604115"/>
                  <a:gd name="connsiteX61" fmla="*/ 541329 w 567904"/>
                  <a:gd name="connsiteY61" fmla="*/ 26448 h 604115"/>
                  <a:gd name="connsiteX62" fmla="*/ 541329 w 567904"/>
                  <a:gd name="connsiteY62" fmla="*/ 154391 h 604115"/>
                  <a:gd name="connsiteX63" fmla="*/ 513480 w 567904"/>
                  <a:gd name="connsiteY63" fmla="*/ 126474 h 604115"/>
                  <a:gd name="connsiteX64" fmla="*/ 563178 w 567904"/>
                  <a:gd name="connsiteY64" fmla="*/ 285160 h 604115"/>
                  <a:gd name="connsiteX65" fmla="*/ 441593 w 567904"/>
                  <a:gd name="connsiteY65" fmla="*/ 515052 h 604115"/>
                  <a:gd name="connsiteX66" fmla="*/ 492197 w 567904"/>
                  <a:gd name="connsiteY66" fmla="*/ 565574 h 604115"/>
                  <a:gd name="connsiteX67" fmla="*/ 492197 w 567904"/>
                  <a:gd name="connsiteY67" fmla="*/ 597560 h 604115"/>
                  <a:gd name="connsiteX68" fmla="*/ 476235 w 567904"/>
                  <a:gd name="connsiteY68" fmla="*/ 604115 h 604115"/>
                  <a:gd name="connsiteX69" fmla="*/ 460159 w 567904"/>
                  <a:gd name="connsiteY69" fmla="*/ 597560 h 604115"/>
                  <a:gd name="connsiteX70" fmla="*/ 400839 w 567904"/>
                  <a:gd name="connsiteY70" fmla="*/ 538222 h 604115"/>
                  <a:gd name="connsiteX71" fmla="*/ 284009 w 567904"/>
                  <a:gd name="connsiteY71" fmla="*/ 563878 h 604115"/>
                  <a:gd name="connsiteX72" fmla="*/ 167065 w 567904"/>
                  <a:gd name="connsiteY72" fmla="*/ 538222 h 604115"/>
                  <a:gd name="connsiteX73" fmla="*/ 107745 w 567904"/>
                  <a:gd name="connsiteY73" fmla="*/ 597560 h 604115"/>
                  <a:gd name="connsiteX74" fmla="*/ 91782 w 567904"/>
                  <a:gd name="connsiteY74" fmla="*/ 604115 h 604115"/>
                  <a:gd name="connsiteX75" fmla="*/ 75707 w 567904"/>
                  <a:gd name="connsiteY75" fmla="*/ 597560 h 604115"/>
                  <a:gd name="connsiteX76" fmla="*/ 75707 w 567904"/>
                  <a:gd name="connsiteY76" fmla="*/ 565574 h 604115"/>
                  <a:gd name="connsiteX77" fmla="*/ 126311 w 567904"/>
                  <a:gd name="connsiteY77" fmla="*/ 515052 h 604115"/>
                  <a:gd name="connsiteX78" fmla="*/ 4726 w 567904"/>
                  <a:gd name="connsiteY78" fmla="*/ 285160 h 604115"/>
                  <a:gd name="connsiteX79" fmla="*/ 54424 w 567904"/>
                  <a:gd name="connsiteY79" fmla="*/ 126474 h 604115"/>
                  <a:gd name="connsiteX80" fmla="*/ 26575 w 567904"/>
                  <a:gd name="connsiteY80" fmla="*/ 154391 h 604115"/>
                  <a:gd name="connsiteX81" fmla="*/ 26575 w 567904"/>
                  <a:gd name="connsiteY81" fmla="*/ 26448 h 604115"/>
                  <a:gd name="connsiteX82" fmla="*/ 90594 w 567904"/>
                  <a:gd name="connsiteY82" fmla="*/ 0 h 6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67904" h="604115">
                    <a:moveTo>
                      <a:pt x="283988" y="165481"/>
                    </a:moveTo>
                    <a:cubicBezTo>
                      <a:pt x="292368" y="165481"/>
                      <a:pt x="299163" y="172264"/>
                      <a:pt x="299163" y="180516"/>
                    </a:cubicBezTo>
                    <a:lnTo>
                      <a:pt x="299163" y="272309"/>
                    </a:lnTo>
                    <a:cubicBezTo>
                      <a:pt x="302561" y="274457"/>
                      <a:pt x="305505" y="277396"/>
                      <a:pt x="307657" y="280788"/>
                    </a:cubicBezTo>
                    <a:lnTo>
                      <a:pt x="366094" y="280788"/>
                    </a:lnTo>
                    <a:cubicBezTo>
                      <a:pt x="374474" y="280788"/>
                      <a:pt x="381156" y="287570"/>
                      <a:pt x="381156" y="295936"/>
                    </a:cubicBezTo>
                    <a:cubicBezTo>
                      <a:pt x="381156" y="304188"/>
                      <a:pt x="374474" y="310971"/>
                      <a:pt x="366094" y="310971"/>
                    </a:cubicBezTo>
                    <a:lnTo>
                      <a:pt x="307657" y="310971"/>
                    </a:lnTo>
                    <a:cubicBezTo>
                      <a:pt x="302674" y="318771"/>
                      <a:pt x="293954" y="323971"/>
                      <a:pt x="283988" y="323971"/>
                    </a:cubicBezTo>
                    <a:cubicBezTo>
                      <a:pt x="268586" y="323971"/>
                      <a:pt x="255902" y="311310"/>
                      <a:pt x="255902" y="295936"/>
                    </a:cubicBezTo>
                    <a:cubicBezTo>
                      <a:pt x="255902" y="285988"/>
                      <a:pt x="261111" y="277283"/>
                      <a:pt x="268926" y="272309"/>
                    </a:cubicBezTo>
                    <a:lnTo>
                      <a:pt x="268926" y="180516"/>
                    </a:lnTo>
                    <a:cubicBezTo>
                      <a:pt x="268926" y="172264"/>
                      <a:pt x="275721" y="165481"/>
                      <a:pt x="283988" y="165481"/>
                    </a:cubicBezTo>
                    <a:close/>
                    <a:moveTo>
                      <a:pt x="268839" y="63180"/>
                    </a:moveTo>
                    <a:cubicBezTo>
                      <a:pt x="216084" y="66684"/>
                      <a:pt x="168311" y="88724"/>
                      <a:pt x="131858" y="122631"/>
                    </a:cubicBezTo>
                    <a:lnTo>
                      <a:pt x="178160" y="168971"/>
                    </a:lnTo>
                    <a:cubicBezTo>
                      <a:pt x="184046" y="174849"/>
                      <a:pt x="184046" y="184343"/>
                      <a:pt x="178160" y="190220"/>
                    </a:cubicBezTo>
                    <a:cubicBezTo>
                      <a:pt x="175216" y="193159"/>
                      <a:pt x="171367" y="194628"/>
                      <a:pt x="167518" y="194628"/>
                    </a:cubicBezTo>
                    <a:cubicBezTo>
                      <a:pt x="163669" y="194628"/>
                      <a:pt x="159820" y="193159"/>
                      <a:pt x="156877" y="190220"/>
                    </a:cubicBezTo>
                    <a:lnTo>
                      <a:pt x="111254" y="144671"/>
                    </a:lnTo>
                    <a:cubicBezTo>
                      <a:pt x="80801" y="181969"/>
                      <a:pt x="62235" y="229213"/>
                      <a:pt x="61216" y="280752"/>
                    </a:cubicBezTo>
                    <a:lnTo>
                      <a:pt x="119292" y="280752"/>
                    </a:lnTo>
                    <a:cubicBezTo>
                      <a:pt x="127669" y="280752"/>
                      <a:pt x="134348" y="287534"/>
                      <a:pt x="134348" y="295898"/>
                    </a:cubicBezTo>
                    <a:cubicBezTo>
                      <a:pt x="134348" y="304148"/>
                      <a:pt x="127669" y="310930"/>
                      <a:pt x="119292" y="310930"/>
                    </a:cubicBezTo>
                    <a:lnTo>
                      <a:pt x="62688" y="310930"/>
                    </a:lnTo>
                    <a:cubicBezTo>
                      <a:pt x="68235" y="359304"/>
                      <a:pt x="89518" y="403045"/>
                      <a:pt x="121330" y="436952"/>
                    </a:cubicBezTo>
                    <a:lnTo>
                      <a:pt x="156877" y="401462"/>
                    </a:lnTo>
                    <a:cubicBezTo>
                      <a:pt x="162763" y="395585"/>
                      <a:pt x="172273" y="395585"/>
                      <a:pt x="178160" y="401462"/>
                    </a:cubicBezTo>
                    <a:cubicBezTo>
                      <a:pt x="184046" y="407340"/>
                      <a:pt x="184046" y="416834"/>
                      <a:pt x="178160" y="422824"/>
                    </a:cubicBezTo>
                    <a:lnTo>
                      <a:pt x="143405" y="457523"/>
                    </a:lnTo>
                    <a:cubicBezTo>
                      <a:pt x="178046" y="485779"/>
                      <a:pt x="221518" y="503862"/>
                      <a:pt x="268839" y="507027"/>
                    </a:cubicBezTo>
                    <a:lnTo>
                      <a:pt x="268839" y="460235"/>
                    </a:lnTo>
                    <a:cubicBezTo>
                      <a:pt x="268839" y="451984"/>
                      <a:pt x="275631" y="445203"/>
                      <a:pt x="284009" y="445203"/>
                    </a:cubicBezTo>
                    <a:cubicBezTo>
                      <a:pt x="292273" y="445203"/>
                      <a:pt x="299065" y="451984"/>
                      <a:pt x="299065" y="460235"/>
                    </a:cubicBezTo>
                    <a:lnTo>
                      <a:pt x="299065" y="507027"/>
                    </a:lnTo>
                    <a:cubicBezTo>
                      <a:pt x="346499" y="503862"/>
                      <a:pt x="389858" y="485779"/>
                      <a:pt x="424612" y="457523"/>
                    </a:cubicBezTo>
                    <a:lnTo>
                      <a:pt x="389744" y="422824"/>
                    </a:lnTo>
                    <a:cubicBezTo>
                      <a:pt x="383858" y="416834"/>
                      <a:pt x="383858" y="407340"/>
                      <a:pt x="389744" y="401462"/>
                    </a:cubicBezTo>
                    <a:cubicBezTo>
                      <a:pt x="395631" y="395585"/>
                      <a:pt x="405254" y="395585"/>
                      <a:pt x="411141" y="401462"/>
                    </a:cubicBezTo>
                    <a:lnTo>
                      <a:pt x="446688" y="436952"/>
                    </a:lnTo>
                    <a:cubicBezTo>
                      <a:pt x="478386" y="403045"/>
                      <a:pt x="499669" y="359304"/>
                      <a:pt x="505329" y="310930"/>
                    </a:cubicBezTo>
                    <a:lnTo>
                      <a:pt x="448612" y="310930"/>
                    </a:lnTo>
                    <a:cubicBezTo>
                      <a:pt x="440348" y="310930"/>
                      <a:pt x="433556" y="304148"/>
                      <a:pt x="433556" y="295898"/>
                    </a:cubicBezTo>
                    <a:cubicBezTo>
                      <a:pt x="433556" y="287534"/>
                      <a:pt x="440348" y="280752"/>
                      <a:pt x="448612" y="280752"/>
                    </a:cubicBezTo>
                    <a:lnTo>
                      <a:pt x="506801" y="280752"/>
                    </a:lnTo>
                    <a:cubicBezTo>
                      <a:pt x="505782" y="229213"/>
                      <a:pt x="487103" y="181969"/>
                      <a:pt x="456650" y="144671"/>
                    </a:cubicBezTo>
                    <a:lnTo>
                      <a:pt x="411141" y="190220"/>
                    </a:lnTo>
                    <a:cubicBezTo>
                      <a:pt x="408197" y="193159"/>
                      <a:pt x="404235" y="194628"/>
                      <a:pt x="400386" y="194628"/>
                    </a:cubicBezTo>
                    <a:cubicBezTo>
                      <a:pt x="396537" y="194628"/>
                      <a:pt x="392688" y="193159"/>
                      <a:pt x="389744" y="190220"/>
                    </a:cubicBezTo>
                    <a:cubicBezTo>
                      <a:pt x="383858" y="184343"/>
                      <a:pt x="383858" y="174849"/>
                      <a:pt x="389744" y="168971"/>
                    </a:cubicBezTo>
                    <a:lnTo>
                      <a:pt x="436046" y="122631"/>
                    </a:lnTo>
                    <a:cubicBezTo>
                      <a:pt x="399707" y="88724"/>
                      <a:pt x="351820" y="66684"/>
                      <a:pt x="299065" y="63180"/>
                    </a:cubicBezTo>
                    <a:lnTo>
                      <a:pt x="299065" y="131447"/>
                    </a:lnTo>
                    <a:cubicBezTo>
                      <a:pt x="299065" y="139698"/>
                      <a:pt x="292273" y="146479"/>
                      <a:pt x="284009" y="146479"/>
                    </a:cubicBezTo>
                    <a:cubicBezTo>
                      <a:pt x="275631" y="146479"/>
                      <a:pt x="268839" y="139698"/>
                      <a:pt x="268839" y="131447"/>
                    </a:cubicBezTo>
                    <a:close/>
                    <a:moveTo>
                      <a:pt x="90594" y="0"/>
                    </a:moveTo>
                    <a:cubicBezTo>
                      <a:pt x="113773" y="0"/>
                      <a:pt x="136952" y="8816"/>
                      <a:pt x="154613" y="26448"/>
                    </a:cubicBezTo>
                    <a:lnTo>
                      <a:pt x="125179" y="55947"/>
                    </a:lnTo>
                    <a:cubicBezTo>
                      <a:pt x="170235" y="24639"/>
                      <a:pt x="225028" y="6329"/>
                      <a:pt x="284009" y="6329"/>
                    </a:cubicBezTo>
                    <a:cubicBezTo>
                      <a:pt x="342990" y="6329"/>
                      <a:pt x="397669" y="24639"/>
                      <a:pt x="442839" y="55947"/>
                    </a:cubicBezTo>
                    <a:lnTo>
                      <a:pt x="413291" y="26448"/>
                    </a:lnTo>
                    <a:cubicBezTo>
                      <a:pt x="448725" y="-8816"/>
                      <a:pt x="506008" y="-8816"/>
                      <a:pt x="541329" y="26448"/>
                    </a:cubicBezTo>
                    <a:cubicBezTo>
                      <a:pt x="576763" y="61824"/>
                      <a:pt x="576763" y="119014"/>
                      <a:pt x="541329" y="154391"/>
                    </a:cubicBezTo>
                    <a:lnTo>
                      <a:pt x="513480" y="126474"/>
                    </a:lnTo>
                    <a:cubicBezTo>
                      <a:pt x="544839" y="171571"/>
                      <a:pt x="563178" y="226275"/>
                      <a:pt x="563178" y="285160"/>
                    </a:cubicBezTo>
                    <a:cubicBezTo>
                      <a:pt x="563178" y="380440"/>
                      <a:pt x="514952" y="464756"/>
                      <a:pt x="441593" y="515052"/>
                    </a:cubicBezTo>
                    <a:lnTo>
                      <a:pt x="492197" y="565574"/>
                    </a:lnTo>
                    <a:cubicBezTo>
                      <a:pt x="501027" y="574390"/>
                      <a:pt x="501027" y="588744"/>
                      <a:pt x="492197" y="597560"/>
                    </a:cubicBezTo>
                    <a:cubicBezTo>
                      <a:pt x="487782" y="601968"/>
                      <a:pt x="482008" y="604115"/>
                      <a:pt x="476235" y="604115"/>
                    </a:cubicBezTo>
                    <a:cubicBezTo>
                      <a:pt x="470348" y="604115"/>
                      <a:pt x="464574" y="601968"/>
                      <a:pt x="460159" y="597560"/>
                    </a:cubicBezTo>
                    <a:lnTo>
                      <a:pt x="400839" y="538222"/>
                    </a:lnTo>
                    <a:cubicBezTo>
                      <a:pt x="365292" y="554723"/>
                      <a:pt x="325669" y="563878"/>
                      <a:pt x="284009" y="563878"/>
                    </a:cubicBezTo>
                    <a:cubicBezTo>
                      <a:pt x="242235" y="563878"/>
                      <a:pt x="202726" y="554723"/>
                      <a:pt x="167065" y="538222"/>
                    </a:cubicBezTo>
                    <a:lnTo>
                      <a:pt x="107745" y="597560"/>
                    </a:lnTo>
                    <a:cubicBezTo>
                      <a:pt x="103330" y="601968"/>
                      <a:pt x="97556" y="604115"/>
                      <a:pt x="91782" y="604115"/>
                    </a:cubicBezTo>
                    <a:cubicBezTo>
                      <a:pt x="85896" y="604115"/>
                      <a:pt x="80122" y="601968"/>
                      <a:pt x="75707" y="597560"/>
                    </a:cubicBezTo>
                    <a:cubicBezTo>
                      <a:pt x="66877" y="588744"/>
                      <a:pt x="66877" y="574390"/>
                      <a:pt x="75707" y="565574"/>
                    </a:cubicBezTo>
                    <a:lnTo>
                      <a:pt x="126311" y="515052"/>
                    </a:lnTo>
                    <a:cubicBezTo>
                      <a:pt x="52952" y="464756"/>
                      <a:pt x="4726" y="380440"/>
                      <a:pt x="4726" y="285160"/>
                    </a:cubicBezTo>
                    <a:cubicBezTo>
                      <a:pt x="4726" y="226275"/>
                      <a:pt x="23065" y="171571"/>
                      <a:pt x="54424" y="126474"/>
                    </a:cubicBezTo>
                    <a:lnTo>
                      <a:pt x="26575" y="154391"/>
                    </a:lnTo>
                    <a:cubicBezTo>
                      <a:pt x="-8859" y="119014"/>
                      <a:pt x="-8859" y="61824"/>
                      <a:pt x="26575" y="26448"/>
                    </a:cubicBezTo>
                    <a:cubicBezTo>
                      <a:pt x="44235" y="8816"/>
                      <a:pt x="67415" y="0"/>
                      <a:pt x="90594" y="0"/>
                    </a:cubicBezTo>
                    <a:close/>
                  </a:path>
                </a:pathLst>
              </a:custGeom>
              <a:solidFill>
                <a:schemeClr val="bg1">
                  <a:lumMod val="50000"/>
                </a:schemeClr>
              </a:solidFill>
              <a:ln>
                <a:noFill/>
              </a:ln>
            </p:spPr>
            <p:txBody>
              <a:bodyPr/>
              <a:lstStyle/>
              <a:p>
                <a:endParaRPr lang="zh-CN" altLang="en-US"/>
              </a:p>
            </p:txBody>
          </p:sp>
          <p:sp>
            <p:nvSpPr>
              <p:cNvPr id="18" name="íṩḷîḋè">
                <a:extLst>
                  <a:ext uri="{FF2B5EF4-FFF2-40B4-BE49-F238E27FC236}">
                    <a16:creationId xmlns:a16="http://schemas.microsoft.com/office/drawing/2014/main" id="{DA5F73B3-9F43-44CA-BB99-A060DD6B9650}"/>
                  </a:ext>
                </a:extLst>
              </p:cNvPr>
              <p:cNvSpPr txBox="1"/>
              <p:nvPr/>
            </p:nvSpPr>
            <p:spPr bwMode="auto">
              <a:xfrm>
                <a:off x="1429055" y="3456432"/>
                <a:ext cx="2163925"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err="1"/>
                  <a:t>FightCardManager</a:t>
                </a:r>
                <a:endParaRPr lang="en-US" altLang="zh-CN" b="1" dirty="0"/>
              </a:p>
            </p:txBody>
          </p:sp>
          <p:sp>
            <p:nvSpPr>
              <p:cNvPr id="19" name="îs1ïḓé">
                <a:extLst>
                  <a:ext uri="{FF2B5EF4-FFF2-40B4-BE49-F238E27FC236}">
                    <a16:creationId xmlns:a16="http://schemas.microsoft.com/office/drawing/2014/main" id="{9B3161AB-9A24-4F68-AE99-5A9A2A3CF829}"/>
                  </a:ext>
                </a:extLst>
              </p:cNvPr>
              <p:cNvSpPr/>
              <p:nvPr/>
            </p:nvSpPr>
            <p:spPr bwMode="auto">
              <a:xfrm>
                <a:off x="1429055" y="3898237"/>
                <a:ext cx="2163925" cy="850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zh-CN" altLang="en-US" sz="1100" dirty="0"/>
                  <a:t>管理游戏中的卡牌效果，完善游戏的卡牌逻辑。</a:t>
                </a:r>
                <a:endParaRPr lang="en-US" altLang="zh-CN" sz="1100" dirty="0"/>
              </a:p>
            </p:txBody>
          </p:sp>
        </p:grpSp>
        <p:grpSp>
          <p:nvGrpSpPr>
            <p:cNvPr id="9" name="íśļïḋê">
              <a:extLst>
                <a:ext uri="{FF2B5EF4-FFF2-40B4-BE49-F238E27FC236}">
                  <a16:creationId xmlns:a16="http://schemas.microsoft.com/office/drawing/2014/main" id="{B6848A2D-AC24-4ADC-A021-CA7B02995187}"/>
                </a:ext>
              </a:extLst>
            </p:cNvPr>
            <p:cNvGrpSpPr/>
            <p:nvPr/>
          </p:nvGrpSpPr>
          <p:grpSpPr>
            <a:xfrm>
              <a:off x="9161509" y="2123554"/>
              <a:ext cx="2352467" cy="3320437"/>
              <a:chOff x="1429055" y="2389675"/>
              <a:chExt cx="2163925" cy="3054316"/>
            </a:xfrm>
          </p:grpSpPr>
          <p:sp>
            <p:nvSpPr>
              <p:cNvPr id="10" name="i$1íḑê">
                <a:extLst>
                  <a:ext uri="{FF2B5EF4-FFF2-40B4-BE49-F238E27FC236}">
                    <a16:creationId xmlns:a16="http://schemas.microsoft.com/office/drawing/2014/main" id="{5AC50160-13C5-4BC8-A8EA-585BF62D79F3}"/>
                  </a:ext>
                </a:extLst>
              </p:cNvPr>
              <p:cNvSpPr/>
              <p:nvPr/>
            </p:nvSpPr>
            <p:spPr>
              <a:xfrm rot="16200000">
                <a:off x="1274922" y="3125933"/>
                <a:ext cx="2472192" cy="2163924"/>
              </a:xfrm>
              <a:custGeom>
                <a:avLst/>
                <a:gdLst>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6753 w 8033654"/>
                  <a:gd name="connsiteY5" fmla="*/ 467828 h 7031915"/>
                  <a:gd name="connsiteX6" fmla="*/ 6540064 w 8033654"/>
                  <a:gd name="connsiteY6" fmla="*/ 434562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363588 w 8033654"/>
                  <a:gd name="connsiteY37" fmla="*/ 6946684 h 7031915"/>
                  <a:gd name="connsiteX38" fmla="*/ 2418335 w 8033654"/>
                  <a:gd name="connsiteY38" fmla="*/ 6906767 h 7031915"/>
                  <a:gd name="connsiteX39" fmla="*/ 2418334 w 8033654"/>
                  <a:gd name="connsiteY39" fmla="*/ 6906767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418334 w 8033654"/>
                  <a:gd name="connsiteY42" fmla="*/ 6906767 h 7031915"/>
                  <a:gd name="connsiteX43" fmla="*/ 2176957 w 8033654"/>
                  <a:gd name="connsiteY43" fmla="*/ 7019956 h 7031915"/>
                  <a:gd name="connsiteX44" fmla="*/ 2058326 w 8033654"/>
                  <a:gd name="connsiteY44" fmla="*/ 7031915 h 7031915"/>
                  <a:gd name="connsiteX45" fmla="*/ 2058286 w 8033654"/>
                  <a:gd name="connsiteY45" fmla="*/ 7031915 h 7031915"/>
                  <a:gd name="connsiteX46" fmla="*/ 1939655 w 8033654"/>
                  <a:gd name="connsiteY46" fmla="*/ 7019956 h 7031915"/>
                  <a:gd name="connsiteX47" fmla="*/ 1642007 w 8033654"/>
                  <a:gd name="connsiteY47" fmla="*/ 6859480 h 7031915"/>
                  <a:gd name="connsiteX48" fmla="*/ 1570173 w 8033654"/>
                  <a:gd name="connsiteY48" fmla="*/ 6772417 h 7031915"/>
                  <a:gd name="connsiteX49" fmla="*/ 1508795 w 8033654"/>
                  <a:gd name="connsiteY49" fmla="*/ 6649661 h 7031915"/>
                  <a:gd name="connsiteX50" fmla="*/ 1508794 w 8033654"/>
                  <a:gd name="connsiteY50" fmla="*/ 6649657 h 7031915"/>
                  <a:gd name="connsiteX51" fmla="*/ 115723 w 8033654"/>
                  <a:gd name="connsiteY51" fmla="*/ 3863519 h 7031915"/>
                  <a:gd name="connsiteX52" fmla="*/ 115722 w 8033654"/>
                  <a:gd name="connsiteY52" fmla="*/ 3863518 h 7031915"/>
                  <a:gd name="connsiteX53" fmla="*/ 29470 w 8033654"/>
                  <a:gd name="connsiteY53" fmla="*/ 3691014 h 7031915"/>
                  <a:gd name="connsiteX54" fmla="*/ 11962 w 8033654"/>
                  <a:gd name="connsiteY54" fmla="*/ 3634608 h 7031915"/>
                  <a:gd name="connsiteX55" fmla="*/ 0 w 8033654"/>
                  <a:gd name="connsiteY55" fmla="*/ 3515957 h 7031915"/>
                  <a:gd name="connsiteX56" fmla="*/ 11962 w 8033654"/>
                  <a:gd name="connsiteY56" fmla="*/ 3397306 h 7031915"/>
                  <a:gd name="connsiteX57" fmla="*/ 29470 w 8033654"/>
                  <a:gd name="connsiteY57" fmla="*/ 3340901 h 7031915"/>
                  <a:gd name="connsiteX58" fmla="*/ 115722 w 8033654"/>
                  <a:gd name="connsiteY58" fmla="*/ 3168396 h 7031915"/>
                  <a:gd name="connsiteX59" fmla="*/ 115723 w 8033654"/>
                  <a:gd name="connsiteY59" fmla="*/ 3168396 h 7031915"/>
                  <a:gd name="connsiteX60" fmla="*/ 1508796 w 8033654"/>
                  <a:gd name="connsiteY60" fmla="*/ 382255 h 7031915"/>
                  <a:gd name="connsiteX61" fmla="*/ 1570174 w 8033654"/>
                  <a:gd name="connsiteY61" fmla="*/ 259499 h 7031915"/>
                  <a:gd name="connsiteX62" fmla="*/ 1642008 w 8033654"/>
                  <a:gd name="connsiteY62" fmla="*/ 172435 h 7031915"/>
                  <a:gd name="connsiteX63" fmla="*/ 1939656 w 8033654"/>
                  <a:gd name="connsiteY63" fmla="*/ 11959 h 7031915"/>
                  <a:gd name="connsiteX64" fmla="*/ 2058287 w 8033654"/>
                  <a:gd name="connsiteY64"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418335 w 8033654"/>
                  <a:gd name="connsiteY41" fmla="*/ 6906767 h 7031915"/>
                  <a:gd name="connsiteX42" fmla="*/ 2176957 w 8033654"/>
                  <a:gd name="connsiteY42" fmla="*/ 7019956 h 7031915"/>
                  <a:gd name="connsiteX43" fmla="*/ 2058326 w 8033654"/>
                  <a:gd name="connsiteY43" fmla="*/ 7031915 h 7031915"/>
                  <a:gd name="connsiteX44" fmla="*/ 2058286 w 8033654"/>
                  <a:gd name="connsiteY44" fmla="*/ 7031915 h 7031915"/>
                  <a:gd name="connsiteX45" fmla="*/ 1939655 w 8033654"/>
                  <a:gd name="connsiteY45" fmla="*/ 7019956 h 7031915"/>
                  <a:gd name="connsiteX46" fmla="*/ 1642007 w 8033654"/>
                  <a:gd name="connsiteY46" fmla="*/ 6859480 h 7031915"/>
                  <a:gd name="connsiteX47" fmla="*/ 1570173 w 8033654"/>
                  <a:gd name="connsiteY47" fmla="*/ 6772417 h 7031915"/>
                  <a:gd name="connsiteX48" fmla="*/ 1508795 w 8033654"/>
                  <a:gd name="connsiteY48" fmla="*/ 6649661 h 7031915"/>
                  <a:gd name="connsiteX49" fmla="*/ 1508794 w 8033654"/>
                  <a:gd name="connsiteY49" fmla="*/ 6649657 h 7031915"/>
                  <a:gd name="connsiteX50" fmla="*/ 115723 w 8033654"/>
                  <a:gd name="connsiteY50" fmla="*/ 3863519 h 7031915"/>
                  <a:gd name="connsiteX51" fmla="*/ 115722 w 8033654"/>
                  <a:gd name="connsiteY51" fmla="*/ 3863518 h 7031915"/>
                  <a:gd name="connsiteX52" fmla="*/ 29470 w 8033654"/>
                  <a:gd name="connsiteY52" fmla="*/ 3691014 h 7031915"/>
                  <a:gd name="connsiteX53" fmla="*/ 11962 w 8033654"/>
                  <a:gd name="connsiteY53" fmla="*/ 3634608 h 7031915"/>
                  <a:gd name="connsiteX54" fmla="*/ 0 w 8033654"/>
                  <a:gd name="connsiteY54" fmla="*/ 3515957 h 7031915"/>
                  <a:gd name="connsiteX55" fmla="*/ 11962 w 8033654"/>
                  <a:gd name="connsiteY55" fmla="*/ 3397306 h 7031915"/>
                  <a:gd name="connsiteX56" fmla="*/ 29470 w 8033654"/>
                  <a:gd name="connsiteY56" fmla="*/ 3340901 h 7031915"/>
                  <a:gd name="connsiteX57" fmla="*/ 115722 w 8033654"/>
                  <a:gd name="connsiteY57" fmla="*/ 3168396 h 7031915"/>
                  <a:gd name="connsiteX58" fmla="*/ 115723 w 8033654"/>
                  <a:gd name="connsiteY58" fmla="*/ 3168396 h 7031915"/>
                  <a:gd name="connsiteX59" fmla="*/ 1508796 w 8033654"/>
                  <a:gd name="connsiteY59" fmla="*/ 382255 h 7031915"/>
                  <a:gd name="connsiteX60" fmla="*/ 1570174 w 8033654"/>
                  <a:gd name="connsiteY60" fmla="*/ 259499 h 7031915"/>
                  <a:gd name="connsiteX61" fmla="*/ 1642008 w 8033654"/>
                  <a:gd name="connsiteY61" fmla="*/ 172435 h 7031915"/>
                  <a:gd name="connsiteX62" fmla="*/ 1939656 w 8033654"/>
                  <a:gd name="connsiteY62" fmla="*/ 11959 h 7031915"/>
                  <a:gd name="connsiteX63" fmla="*/ 2058287 w 8033654"/>
                  <a:gd name="connsiteY63"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363588 w 8033654"/>
                  <a:gd name="connsiteY40" fmla="*/ 6946684 h 7031915"/>
                  <a:gd name="connsiteX41" fmla="*/ 2176957 w 8033654"/>
                  <a:gd name="connsiteY41" fmla="*/ 7019956 h 7031915"/>
                  <a:gd name="connsiteX42" fmla="*/ 2058326 w 8033654"/>
                  <a:gd name="connsiteY42" fmla="*/ 7031915 h 7031915"/>
                  <a:gd name="connsiteX43" fmla="*/ 2058286 w 8033654"/>
                  <a:gd name="connsiteY43" fmla="*/ 7031915 h 7031915"/>
                  <a:gd name="connsiteX44" fmla="*/ 1939655 w 8033654"/>
                  <a:gd name="connsiteY44" fmla="*/ 7019956 h 7031915"/>
                  <a:gd name="connsiteX45" fmla="*/ 1642007 w 8033654"/>
                  <a:gd name="connsiteY45" fmla="*/ 6859480 h 7031915"/>
                  <a:gd name="connsiteX46" fmla="*/ 1570173 w 8033654"/>
                  <a:gd name="connsiteY46" fmla="*/ 6772417 h 7031915"/>
                  <a:gd name="connsiteX47" fmla="*/ 1508795 w 8033654"/>
                  <a:gd name="connsiteY47" fmla="*/ 6649661 h 7031915"/>
                  <a:gd name="connsiteX48" fmla="*/ 1508794 w 8033654"/>
                  <a:gd name="connsiteY48" fmla="*/ 6649657 h 7031915"/>
                  <a:gd name="connsiteX49" fmla="*/ 115723 w 8033654"/>
                  <a:gd name="connsiteY49" fmla="*/ 3863519 h 7031915"/>
                  <a:gd name="connsiteX50" fmla="*/ 115722 w 8033654"/>
                  <a:gd name="connsiteY50" fmla="*/ 3863518 h 7031915"/>
                  <a:gd name="connsiteX51" fmla="*/ 29470 w 8033654"/>
                  <a:gd name="connsiteY51" fmla="*/ 3691014 h 7031915"/>
                  <a:gd name="connsiteX52" fmla="*/ 11962 w 8033654"/>
                  <a:gd name="connsiteY52" fmla="*/ 3634608 h 7031915"/>
                  <a:gd name="connsiteX53" fmla="*/ 0 w 8033654"/>
                  <a:gd name="connsiteY53" fmla="*/ 3515957 h 7031915"/>
                  <a:gd name="connsiteX54" fmla="*/ 11962 w 8033654"/>
                  <a:gd name="connsiteY54" fmla="*/ 3397306 h 7031915"/>
                  <a:gd name="connsiteX55" fmla="*/ 29470 w 8033654"/>
                  <a:gd name="connsiteY55" fmla="*/ 3340901 h 7031915"/>
                  <a:gd name="connsiteX56" fmla="*/ 115722 w 8033654"/>
                  <a:gd name="connsiteY56" fmla="*/ 3168396 h 7031915"/>
                  <a:gd name="connsiteX57" fmla="*/ 115723 w 8033654"/>
                  <a:gd name="connsiteY57" fmla="*/ 3168396 h 7031915"/>
                  <a:gd name="connsiteX58" fmla="*/ 1508796 w 8033654"/>
                  <a:gd name="connsiteY58" fmla="*/ 382255 h 7031915"/>
                  <a:gd name="connsiteX59" fmla="*/ 1570174 w 8033654"/>
                  <a:gd name="connsiteY59" fmla="*/ 259499 h 7031915"/>
                  <a:gd name="connsiteX60" fmla="*/ 1642008 w 8033654"/>
                  <a:gd name="connsiteY60" fmla="*/ 172435 h 7031915"/>
                  <a:gd name="connsiteX61" fmla="*/ 1939656 w 8033654"/>
                  <a:gd name="connsiteY61" fmla="*/ 11959 h 7031915"/>
                  <a:gd name="connsiteX62" fmla="*/ 2058287 w 8033654"/>
                  <a:gd name="connsiteY62"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6753 w 8033654"/>
                  <a:gd name="connsiteY6" fmla="*/ 467828 h 7031915"/>
                  <a:gd name="connsiteX7" fmla="*/ 6540064 w 8033654"/>
                  <a:gd name="connsiteY7" fmla="*/ 434562 h 7031915"/>
                  <a:gd name="connsiteX8" fmla="*/ 6529086 w 8033654"/>
                  <a:gd name="connsiteY8" fmla="*/ 402424 h 7031915"/>
                  <a:gd name="connsiteX9" fmla="*/ 6482461 w 8033654"/>
                  <a:gd name="connsiteY9" fmla="*/ 295697 h 7031915"/>
                  <a:gd name="connsiteX10" fmla="*/ 6520430 w 8033654"/>
                  <a:gd name="connsiteY10" fmla="*/ 377086 h 7031915"/>
                  <a:gd name="connsiteX11" fmla="*/ 6515577 w 8033654"/>
                  <a:gd name="connsiteY11" fmla="*/ 362878 h 7031915"/>
                  <a:gd name="connsiteX12" fmla="*/ 6482461 w 8033654"/>
                  <a:gd name="connsiteY12" fmla="*/ 295697 h 7031915"/>
                  <a:gd name="connsiteX13" fmla="*/ 2058287 w 8033654"/>
                  <a:gd name="connsiteY13" fmla="*/ 0 h 7031915"/>
                  <a:gd name="connsiteX14" fmla="*/ 2058326 w 8033654"/>
                  <a:gd name="connsiteY14" fmla="*/ 0 h 7031915"/>
                  <a:gd name="connsiteX15" fmla="*/ 5971699 w 8033654"/>
                  <a:gd name="connsiteY15" fmla="*/ 0 h 7031915"/>
                  <a:gd name="connsiteX16" fmla="*/ 5971700 w 8033654"/>
                  <a:gd name="connsiteY16" fmla="*/ 0 h 7031915"/>
                  <a:gd name="connsiteX17" fmla="*/ 5971740 w 8033654"/>
                  <a:gd name="connsiteY17" fmla="*/ 0 h 7031915"/>
                  <a:gd name="connsiteX18" fmla="*/ 6090371 w 8033654"/>
                  <a:gd name="connsiteY18" fmla="*/ 11959 h 7031915"/>
                  <a:gd name="connsiteX19" fmla="*/ 6357004 w 8033654"/>
                  <a:gd name="connsiteY19" fmla="*/ 143562 h 7031915"/>
                  <a:gd name="connsiteX20" fmla="*/ 6421756 w 8033654"/>
                  <a:gd name="connsiteY20" fmla="*/ 209878 h 7031915"/>
                  <a:gd name="connsiteX21" fmla="*/ 6426018 w 8033654"/>
                  <a:gd name="connsiteY21" fmla="*/ 214243 h 7031915"/>
                  <a:gd name="connsiteX22" fmla="*/ 6463356 w 8033654"/>
                  <a:gd name="connsiteY22" fmla="*/ 268125 h 7031915"/>
                  <a:gd name="connsiteX23" fmla="*/ 6480094 w 8033654"/>
                  <a:gd name="connsiteY23" fmla="*/ 292278 h 7031915"/>
                  <a:gd name="connsiteX24" fmla="*/ 6490605 w 8033654"/>
                  <a:gd name="connsiteY24" fmla="*/ 298322 h 7031915"/>
                  <a:gd name="connsiteX25" fmla="*/ 7949332 w 8033654"/>
                  <a:gd name="connsiteY25" fmla="*/ 3216682 h 7031915"/>
                  <a:gd name="connsiteX26" fmla="*/ 7992299 w 8033654"/>
                  <a:gd name="connsiteY26" fmla="*/ 3302616 h 7031915"/>
                  <a:gd name="connsiteX27" fmla="*/ 8021693 w 8033654"/>
                  <a:gd name="connsiteY27" fmla="*/ 3397306 h 7031915"/>
                  <a:gd name="connsiteX28" fmla="*/ 8033654 w 8033654"/>
                  <a:gd name="connsiteY28" fmla="*/ 3515957 h 7031915"/>
                  <a:gd name="connsiteX29" fmla="*/ 8021693 w 8033654"/>
                  <a:gd name="connsiteY29" fmla="*/ 3634608 h 7031915"/>
                  <a:gd name="connsiteX30" fmla="*/ 7992299 w 8033654"/>
                  <a:gd name="connsiteY30" fmla="*/ 3729298 h 7031915"/>
                  <a:gd name="connsiteX31" fmla="*/ 7949332 w 8033654"/>
                  <a:gd name="connsiteY31" fmla="*/ 3815232 h 7031915"/>
                  <a:gd name="connsiteX32" fmla="*/ 6535055 w 8033654"/>
                  <a:gd name="connsiteY32" fmla="*/ 6638796 h 7031915"/>
                  <a:gd name="connsiteX33" fmla="*/ 6524461 w 8033654"/>
                  <a:gd name="connsiteY33" fmla="*/ 6646190 h 7031915"/>
                  <a:gd name="connsiteX34" fmla="*/ 6482456 w 8033654"/>
                  <a:gd name="connsiteY34" fmla="*/ 6736229 h 7031915"/>
                  <a:gd name="connsiteX35" fmla="*/ 6090371 w 8033654"/>
                  <a:gd name="connsiteY35" fmla="*/ 7019956 h 7031915"/>
                  <a:gd name="connsiteX36" fmla="*/ 5971740 w 8033654"/>
                  <a:gd name="connsiteY36" fmla="*/ 7031915 h 7031915"/>
                  <a:gd name="connsiteX37" fmla="*/ 5971700 w 8033654"/>
                  <a:gd name="connsiteY37" fmla="*/ 7031915 h 7031915"/>
                  <a:gd name="connsiteX38" fmla="*/ 2058326 w 8033654"/>
                  <a:gd name="connsiteY38" fmla="*/ 7031915 h 7031915"/>
                  <a:gd name="connsiteX39" fmla="*/ 2176958 w 8033654"/>
                  <a:gd name="connsiteY39" fmla="*/ 7019956 h 7031915"/>
                  <a:gd name="connsiteX40" fmla="*/ 2176957 w 8033654"/>
                  <a:gd name="connsiteY40" fmla="*/ 7019956 h 7031915"/>
                  <a:gd name="connsiteX41" fmla="*/ 2058326 w 8033654"/>
                  <a:gd name="connsiteY41" fmla="*/ 7031915 h 7031915"/>
                  <a:gd name="connsiteX42" fmla="*/ 2058286 w 8033654"/>
                  <a:gd name="connsiteY42" fmla="*/ 7031915 h 7031915"/>
                  <a:gd name="connsiteX43" fmla="*/ 1939655 w 8033654"/>
                  <a:gd name="connsiteY43" fmla="*/ 7019956 h 7031915"/>
                  <a:gd name="connsiteX44" fmla="*/ 1642007 w 8033654"/>
                  <a:gd name="connsiteY44" fmla="*/ 6859480 h 7031915"/>
                  <a:gd name="connsiteX45" fmla="*/ 1570173 w 8033654"/>
                  <a:gd name="connsiteY45" fmla="*/ 6772417 h 7031915"/>
                  <a:gd name="connsiteX46" fmla="*/ 1508795 w 8033654"/>
                  <a:gd name="connsiteY46" fmla="*/ 6649661 h 7031915"/>
                  <a:gd name="connsiteX47" fmla="*/ 1508794 w 8033654"/>
                  <a:gd name="connsiteY47" fmla="*/ 6649657 h 7031915"/>
                  <a:gd name="connsiteX48" fmla="*/ 115723 w 8033654"/>
                  <a:gd name="connsiteY48" fmla="*/ 3863519 h 7031915"/>
                  <a:gd name="connsiteX49" fmla="*/ 115722 w 8033654"/>
                  <a:gd name="connsiteY49" fmla="*/ 3863518 h 7031915"/>
                  <a:gd name="connsiteX50" fmla="*/ 29470 w 8033654"/>
                  <a:gd name="connsiteY50" fmla="*/ 3691014 h 7031915"/>
                  <a:gd name="connsiteX51" fmla="*/ 11962 w 8033654"/>
                  <a:gd name="connsiteY51" fmla="*/ 3634608 h 7031915"/>
                  <a:gd name="connsiteX52" fmla="*/ 0 w 8033654"/>
                  <a:gd name="connsiteY52" fmla="*/ 3515957 h 7031915"/>
                  <a:gd name="connsiteX53" fmla="*/ 11962 w 8033654"/>
                  <a:gd name="connsiteY53" fmla="*/ 3397306 h 7031915"/>
                  <a:gd name="connsiteX54" fmla="*/ 29470 w 8033654"/>
                  <a:gd name="connsiteY54" fmla="*/ 3340901 h 7031915"/>
                  <a:gd name="connsiteX55" fmla="*/ 115722 w 8033654"/>
                  <a:gd name="connsiteY55" fmla="*/ 3168396 h 7031915"/>
                  <a:gd name="connsiteX56" fmla="*/ 115723 w 8033654"/>
                  <a:gd name="connsiteY56" fmla="*/ 3168396 h 7031915"/>
                  <a:gd name="connsiteX57" fmla="*/ 1508796 w 8033654"/>
                  <a:gd name="connsiteY57" fmla="*/ 382255 h 7031915"/>
                  <a:gd name="connsiteX58" fmla="*/ 1570174 w 8033654"/>
                  <a:gd name="connsiteY58" fmla="*/ 259499 h 7031915"/>
                  <a:gd name="connsiteX59" fmla="*/ 1642008 w 8033654"/>
                  <a:gd name="connsiteY59" fmla="*/ 172435 h 7031915"/>
                  <a:gd name="connsiteX60" fmla="*/ 1939656 w 8033654"/>
                  <a:gd name="connsiteY60" fmla="*/ 11959 h 7031915"/>
                  <a:gd name="connsiteX61" fmla="*/ 2058287 w 8033654"/>
                  <a:gd name="connsiteY61" fmla="*/ 0 h 7031915"/>
                  <a:gd name="connsiteX0" fmla="*/ 6552162 w 8033654"/>
                  <a:gd name="connsiteY0" fmla="*/ 494730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52162 w 8033654"/>
                  <a:gd name="connsiteY4" fmla="*/ 494730 h 7031915"/>
                  <a:gd name="connsiteX5" fmla="*/ 6529086 w 8033654"/>
                  <a:gd name="connsiteY5" fmla="*/ 402424 h 7031915"/>
                  <a:gd name="connsiteX6" fmla="*/ 6540064 w 8033654"/>
                  <a:gd name="connsiteY6" fmla="*/ 434562 h 7031915"/>
                  <a:gd name="connsiteX7" fmla="*/ 6529086 w 8033654"/>
                  <a:gd name="connsiteY7" fmla="*/ 402424 h 7031915"/>
                  <a:gd name="connsiteX8" fmla="*/ 6482461 w 8033654"/>
                  <a:gd name="connsiteY8" fmla="*/ 295697 h 7031915"/>
                  <a:gd name="connsiteX9" fmla="*/ 6520430 w 8033654"/>
                  <a:gd name="connsiteY9" fmla="*/ 377086 h 7031915"/>
                  <a:gd name="connsiteX10" fmla="*/ 6515577 w 8033654"/>
                  <a:gd name="connsiteY10" fmla="*/ 362878 h 7031915"/>
                  <a:gd name="connsiteX11" fmla="*/ 6482461 w 8033654"/>
                  <a:gd name="connsiteY11" fmla="*/ 295697 h 7031915"/>
                  <a:gd name="connsiteX12" fmla="*/ 2058287 w 8033654"/>
                  <a:gd name="connsiteY12" fmla="*/ 0 h 7031915"/>
                  <a:gd name="connsiteX13" fmla="*/ 2058326 w 8033654"/>
                  <a:gd name="connsiteY13" fmla="*/ 0 h 7031915"/>
                  <a:gd name="connsiteX14" fmla="*/ 5971699 w 8033654"/>
                  <a:gd name="connsiteY14" fmla="*/ 0 h 7031915"/>
                  <a:gd name="connsiteX15" fmla="*/ 5971700 w 8033654"/>
                  <a:gd name="connsiteY15" fmla="*/ 0 h 7031915"/>
                  <a:gd name="connsiteX16" fmla="*/ 5971740 w 8033654"/>
                  <a:gd name="connsiteY16" fmla="*/ 0 h 7031915"/>
                  <a:gd name="connsiteX17" fmla="*/ 6090371 w 8033654"/>
                  <a:gd name="connsiteY17" fmla="*/ 11959 h 7031915"/>
                  <a:gd name="connsiteX18" fmla="*/ 6357004 w 8033654"/>
                  <a:gd name="connsiteY18" fmla="*/ 143562 h 7031915"/>
                  <a:gd name="connsiteX19" fmla="*/ 6421756 w 8033654"/>
                  <a:gd name="connsiteY19" fmla="*/ 209878 h 7031915"/>
                  <a:gd name="connsiteX20" fmla="*/ 6426018 w 8033654"/>
                  <a:gd name="connsiteY20" fmla="*/ 214243 h 7031915"/>
                  <a:gd name="connsiteX21" fmla="*/ 6463356 w 8033654"/>
                  <a:gd name="connsiteY21" fmla="*/ 268125 h 7031915"/>
                  <a:gd name="connsiteX22" fmla="*/ 6480094 w 8033654"/>
                  <a:gd name="connsiteY22" fmla="*/ 292278 h 7031915"/>
                  <a:gd name="connsiteX23" fmla="*/ 6490605 w 8033654"/>
                  <a:gd name="connsiteY23" fmla="*/ 298322 h 7031915"/>
                  <a:gd name="connsiteX24" fmla="*/ 7949332 w 8033654"/>
                  <a:gd name="connsiteY24" fmla="*/ 3216682 h 7031915"/>
                  <a:gd name="connsiteX25" fmla="*/ 7992299 w 8033654"/>
                  <a:gd name="connsiteY25" fmla="*/ 3302616 h 7031915"/>
                  <a:gd name="connsiteX26" fmla="*/ 8021693 w 8033654"/>
                  <a:gd name="connsiteY26" fmla="*/ 3397306 h 7031915"/>
                  <a:gd name="connsiteX27" fmla="*/ 8033654 w 8033654"/>
                  <a:gd name="connsiteY27" fmla="*/ 3515957 h 7031915"/>
                  <a:gd name="connsiteX28" fmla="*/ 8021693 w 8033654"/>
                  <a:gd name="connsiteY28" fmla="*/ 3634608 h 7031915"/>
                  <a:gd name="connsiteX29" fmla="*/ 7992299 w 8033654"/>
                  <a:gd name="connsiteY29" fmla="*/ 3729298 h 7031915"/>
                  <a:gd name="connsiteX30" fmla="*/ 7949332 w 8033654"/>
                  <a:gd name="connsiteY30" fmla="*/ 3815232 h 7031915"/>
                  <a:gd name="connsiteX31" fmla="*/ 6535055 w 8033654"/>
                  <a:gd name="connsiteY31" fmla="*/ 6638796 h 7031915"/>
                  <a:gd name="connsiteX32" fmla="*/ 6524461 w 8033654"/>
                  <a:gd name="connsiteY32" fmla="*/ 6646190 h 7031915"/>
                  <a:gd name="connsiteX33" fmla="*/ 6482456 w 8033654"/>
                  <a:gd name="connsiteY33" fmla="*/ 6736229 h 7031915"/>
                  <a:gd name="connsiteX34" fmla="*/ 6090371 w 8033654"/>
                  <a:gd name="connsiteY34" fmla="*/ 7019956 h 7031915"/>
                  <a:gd name="connsiteX35" fmla="*/ 5971740 w 8033654"/>
                  <a:gd name="connsiteY35" fmla="*/ 7031915 h 7031915"/>
                  <a:gd name="connsiteX36" fmla="*/ 5971700 w 8033654"/>
                  <a:gd name="connsiteY36" fmla="*/ 7031915 h 7031915"/>
                  <a:gd name="connsiteX37" fmla="*/ 2058326 w 8033654"/>
                  <a:gd name="connsiteY37" fmla="*/ 7031915 h 7031915"/>
                  <a:gd name="connsiteX38" fmla="*/ 2176958 w 8033654"/>
                  <a:gd name="connsiteY38" fmla="*/ 7019956 h 7031915"/>
                  <a:gd name="connsiteX39" fmla="*/ 2176957 w 8033654"/>
                  <a:gd name="connsiteY39" fmla="*/ 7019956 h 7031915"/>
                  <a:gd name="connsiteX40" fmla="*/ 2058326 w 8033654"/>
                  <a:gd name="connsiteY40" fmla="*/ 7031915 h 7031915"/>
                  <a:gd name="connsiteX41" fmla="*/ 2058286 w 8033654"/>
                  <a:gd name="connsiteY41" fmla="*/ 7031915 h 7031915"/>
                  <a:gd name="connsiteX42" fmla="*/ 1939655 w 8033654"/>
                  <a:gd name="connsiteY42" fmla="*/ 7019956 h 7031915"/>
                  <a:gd name="connsiteX43" fmla="*/ 1642007 w 8033654"/>
                  <a:gd name="connsiteY43" fmla="*/ 6859480 h 7031915"/>
                  <a:gd name="connsiteX44" fmla="*/ 1570173 w 8033654"/>
                  <a:gd name="connsiteY44" fmla="*/ 6772417 h 7031915"/>
                  <a:gd name="connsiteX45" fmla="*/ 1508795 w 8033654"/>
                  <a:gd name="connsiteY45" fmla="*/ 6649661 h 7031915"/>
                  <a:gd name="connsiteX46" fmla="*/ 1508794 w 8033654"/>
                  <a:gd name="connsiteY46" fmla="*/ 6649657 h 7031915"/>
                  <a:gd name="connsiteX47" fmla="*/ 115723 w 8033654"/>
                  <a:gd name="connsiteY47" fmla="*/ 3863519 h 7031915"/>
                  <a:gd name="connsiteX48" fmla="*/ 115722 w 8033654"/>
                  <a:gd name="connsiteY48" fmla="*/ 3863518 h 7031915"/>
                  <a:gd name="connsiteX49" fmla="*/ 29470 w 8033654"/>
                  <a:gd name="connsiteY49" fmla="*/ 3691014 h 7031915"/>
                  <a:gd name="connsiteX50" fmla="*/ 11962 w 8033654"/>
                  <a:gd name="connsiteY50" fmla="*/ 3634608 h 7031915"/>
                  <a:gd name="connsiteX51" fmla="*/ 0 w 8033654"/>
                  <a:gd name="connsiteY51" fmla="*/ 3515957 h 7031915"/>
                  <a:gd name="connsiteX52" fmla="*/ 11962 w 8033654"/>
                  <a:gd name="connsiteY52" fmla="*/ 3397306 h 7031915"/>
                  <a:gd name="connsiteX53" fmla="*/ 29470 w 8033654"/>
                  <a:gd name="connsiteY53" fmla="*/ 3340901 h 7031915"/>
                  <a:gd name="connsiteX54" fmla="*/ 115722 w 8033654"/>
                  <a:gd name="connsiteY54" fmla="*/ 3168396 h 7031915"/>
                  <a:gd name="connsiteX55" fmla="*/ 115723 w 8033654"/>
                  <a:gd name="connsiteY55" fmla="*/ 3168396 h 7031915"/>
                  <a:gd name="connsiteX56" fmla="*/ 1508796 w 8033654"/>
                  <a:gd name="connsiteY56" fmla="*/ 382255 h 7031915"/>
                  <a:gd name="connsiteX57" fmla="*/ 1570174 w 8033654"/>
                  <a:gd name="connsiteY57" fmla="*/ 259499 h 7031915"/>
                  <a:gd name="connsiteX58" fmla="*/ 1642008 w 8033654"/>
                  <a:gd name="connsiteY58" fmla="*/ 172435 h 7031915"/>
                  <a:gd name="connsiteX59" fmla="*/ 1939656 w 8033654"/>
                  <a:gd name="connsiteY59" fmla="*/ 11959 h 7031915"/>
                  <a:gd name="connsiteX60" fmla="*/ 2058287 w 8033654"/>
                  <a:gd name="connsiteY60" fmla="*/ 0 h 7031915"/>
                  <a:gd name="connsiteX0" fmla="*/ 6555247 w 8033654"/>
                  <a:gd name="connsiteY0" fmla="*/ 510071 h 7031915"/>
                  <a:gd name="connsiteX1" fmla="*/ 6555365 w 8033654"/>
                  <a:gd name="connsiteY1" fmla="*/ 531027 h 7031915"/>
                  <a:gd name="connsiteX2" fmla="*/ 6556798 w 8033654"/>
                  <a:gd name="connsiteY2" fmla="*/ 533489 h 7031915"/>
                  <a:gd name="connsiteX3" fmla="*/ 6555247 w 8033654"/>
                  <a:gd name="connsiteY3" fmla="*/ 510071 h 7031915"/>
                  <a:gd name="connsiteX4" fmla="*/ 6529086 w 8033654"/>
                  <a:gd name="connsiteY4" fmla="*/ 402424 h 7031915"/>
                  <a:gd name="connsiteX5" fmla="*/ 6540064 w 8033654"/>
                  <a:gd name="connsiteY5" fmla="*/ 434562 h 7031915"/>
                  <a:gd name="connsiteX6" fmla="*/ 6529086 w 8033654"/>
                  <a:gd name="connsiteY6" fmla="*/ 402424 h 7031915"/>
                  <a:gd name="connsiteX7" fmla="*/ 6482461 w 8033654"/>
                  <a:gd name="connsiteY7" fmla="*/ 295697 h 7031915"/>
                  <a:gd name="connsiteX8" fmla="*/ 6520430 w 8033654"/>
                  <a:gd name="connsiteY8" fmla="*/ 377086 h 7031915"/>
                  <a:gd name="connsiteX9" fmla="*/ 6515577 w 8033654"/>
                  <a:gd name="connsiteY9" fmla="*/ 362878 h 7031915"/>
                  <a:gd name="connsiteX10" fmla="*/ 6482461 w 8033654"/>
                  <a:gd name="connsiteY10" fmla="*/ 295697 h 7031915"/>
                  <a:gd name="connsiteX11" fmla="*/ 2058287 w 8033654"/>
                  <a:gd name="connsiteY11" fmla="*/ 0 h 7031915"/>
                  <a:gd name="connsiteX12" fmla="*/ 2058326 w 8033654"/>
                  <a:gd name="connsiteY12" fmla="*/ 0 h 7031915"/>
                  <a:gd name="connsiteX13" fmla="*/ 5971699 w 8033654"/>
                  <a:gd name="connsiteY13" fmla="*/ 0 h 7031915"/>
                  <a:gd name="connsiteX14" fmla="*/ 5971700 w 8033654"/>
                  <a:gd name="connsiteY14" fmla="*/ 0 h 7031915"/>
                  <a:gd name="connsiteX15" fmla="*/ 5971740 w 8033654"/>
                  <a:gd name="connsiteY15" fmla="*/ 0 h 7031915"/>
                  <a:gd name="connsiteX16" fmla="*/ 6090371 w 8033654"/>
                  <a:gd name="connsiteY16" fmla="*/ 11959 h 7031915"/>
                  <a:gd name="connsiteX17" fmla="*/ 6357004 w 8033654"/>
                  <a:gd name="connsiteY17" fmla="*/ 143562 h 7031915"/>
                  <a:gd name="connsiteX18" fmla="*/ 6421756 w 8033654"/>
                  <a:gd name="connsiteY18" fmla="*/ 209878 h 7031915"/>
                  <a:gd name="connsiteX19" fmla="*/ 6426018 w 8033654"/>
                  <a:gd name="connsiteY19" fmla="*/ 214243 h 7031915"/>
                  <a:gd name="connsiteX20" fmla="*/ 6463356 w 8033654"/>
                  <a:gd name="connsiteY20" fmla="*/ 268125 h 7031915"/>
                  <a:gd name="connsiteX21" fmla="*/ 6480094 w 8033654"/>
                  <a:gd name="connsiteY21" fmla="*/ 292278 h 7031915"/>
                  <a:gd name="connsiteX22" fmla="*/ 6490605 w 8033654"/>
                  <a:gd name="connsiteY22" fmla="*/ 298322 h 7031915"/>
                  <a:gd name="connsiteX23" fmla="*/ 7949332 w 8033654"/>
                  <a:gd name="connsiteY23" fmla="*/ 3216682 h 7031915"/>
                  <a:gd name="connsiteX24" fmla="*/ 7992299 w 8033654"/>
                  <a:gd name="connsiteY24" fmla="*/ 3302616 h 7031915"/>
                  <a:gd name="connsiteX25" fmla="*/ 8021693 w 8033654"/>
                  <a:gd name="connsiteY25" fmla="*/ 3397306 h 7031915"/>
                  <a:gd name="connsiteX26" fmla="*/ 8033654 w 8033654"/>
                  <a:gd name="connsiteY26" fmla="*/ 3515957 h 7031915"/>
                  <a:gd name="connsiteX27" fmla="*/ 8021693 w 8033654"/>
                  <a:gd name="connsiteY27" fmla="*/ 3634608 h 7031915"/>
                  <a:gd name="connsiteX28" fmla="*/ 7992299 w 8033654"/>
                  <a:gd name="connsiteY28" fmla="*/ 3729298 h 7031915"/>
                  <a:gd name="connsiteX29" fmla="*/ 7949332 w 8033654"/>
                  <a:gd name="connsiteY29" fmla="*/ 3815232 h 7031915"/>
                  <a:gd name="connsiteX30" fmla="*/ 6535055 w 8033654"/>
                  <a:gd name="connsiteY30" fmla="*/ 6638796 h 7031915"/>
                  <a:gd name="connsiteX31" fmla="*/ 6524461 w 8033654"/>
                  <a:gd name="connsiteY31" fmla="*/ 6646190 h 7031915"/>
                  <a:gd name="connsiteX32" fmla="*/ 6482456 w 8033654"/>
                  <a:gd name="connsiteY32" fmla="*/ 6736229 h 7031915"/>
                  <a:gd name="connsiteX33" fmla="*/ 6090371 w 8033654"/>
                  <a:gd name="connsiteY33" fmla="*/ 7019956 h 7031915"/>
                  <a:gd name="connsiteX34" fmla="*/ 5971740 w 8033654"/>
                  <a:gd name="connsiteY34" fmla="*/ 7031915 h 7031915"/>
                  <a:gd name="connsiteX35" fmla="*/ 5971700 w 8033654"/>
                  <a:gd name="connsiteY35" fmla="*/ 7031915 h 7031915"/>
                  <a:gd name="connsiteX36" fmla="*/ 2058326 w 8033654"/>
                  <a:gd name="connsiteY36" fmla="*/ 7031915 h 7031915"/>
                  <a:gd name="connsiteX37" fmla="*/ 2176958 w 8033654"/>
                  <a:gd name="connsiteY37" fmla="*/ 7019956 h 7031915"/>
                  <a:gd name="connsiteX38" fmla="*/ 2176957 w 8033654"/>
                  <a:gd name="connsiteY38" fmla="*/ 7019956 h 7031915"/>
                  <a:gd name="connsiteX39" fmla="*/ 2058326 w 8033654"/>
                  <a:gd name="connsiteY39" fmla="*/ 7031915 h 7031915"/>
                  <a:gd name="connsiteX40" fmla="*/ 2058286 w 8033654"/>
                  <a:gd name="connsiteY40" fmla="*/ 7031915 h 7031915"/>
                  <a:gd name="connsiteX41" fmla="*/ 1939655 w 8033654"/>
                  <a:gd name="connsiteY41" fmla="*/ 7019956 h 7031915"/>
                  <a:gd name="connsiteX42" fmla="*/ 1642007 w 8033654"/>
                  <a:gd name="connsiteY42" fmla="*/ 6859480 h 7031915"/>
                  <a:gd name="connsiteX43" fmla="*/ 1570173 w 8033654"/>
                  <a:gd name="connsiteY43" fmla="*/ 6772417 h 7031915"/>
                  <a:gd name="connsiteX44" fmla="*/ 1508795 w 8033654"/>
                  <a:gd name="connsiteY44" fmla="*/ 6649661 h 7031915"/>
                  <a:gd name="connsiteX45" fmla="*/ 1508794 w 8033654"/>
                  <a:gd name="connsiteY45" fmla="*/ 6649657 h 7031915"/>
                  <a:gd name="connsiteX46" fmla="*/ 115723 w 8033654"/>
                  <a:gd name="connsiteY46" fmla="*/ 3863519 h 7031915"/>
                  <a:gd name="connsiteX47" fmla="*/ 115722 w 8033654"/>
                  <a:gd name="connsiteY47" fmla="*/ 3863518 h 7031915"/>
                  <a:gd name="connsiteX48" fmla="*/ 29470 w 8033654"/>
                  <a:gd name="connsiteY48" fmla="*/ 3691014 h 7031915"/>
                  <a:gd name="connsiteX49" fmla="*/ 11962 w 8033654"/>
                  <a:gd name="connsiteY49" fmla="*/ 3634608 h 7031915"/>
                  <a:gd name="connsiteX50" fmla="*/ 0 w 8033654"/>
                  <a:gd name="connsiteY50" fmla="*/ 3515957 h 7031915"/>
                  <a:gd name="connsiteX51" fmla="*/ 11962 w 8033654"/>
                  <a:gd name="connsiteY51" fmla="*/ 3397306 h 7031915"/>
                  <a:gd name="connsiteX52" fmla="*/ 29470 w 8033654"/>
                  <a:gd name="connsiteY52" fmla="*/ 3340901 h 7031915"/>
                  <a:gd name="connsiteX53" fmla="*/ 115722 w 8033654"/>
                  <a:gd name="connsiteY53" fmla="*/ 3168396 h 7031915"/>
                  <a:gd name="connsiteX54" fmla="*/ 115723 w 8033654"/>
                  <a:gd name="connsiteY54" fmla="*/ 3168396 h 7031915"/>
                  <a:gd name="connsiteX55" fmla="*/ 1508796 w 8033654"/>
                  <a:gd name="connsiteY55" fmla="*/ 382255 h 7031915"/>
                  <a:gd name="connsiteX56" fmla="*/ 1570174 w 8033654"/>
                  <a:gd name="connsiteY56" fmla="*/ 259499 h 7031915"/>
                  <a:gd name="connsiteX57" fmla="*/ 1642008 w 8033654"/>
                  <a:gd name="connsiteY57" fmla="*/ 172435 h 7031915"/>
                  <a:gd name="connsiteX58" fmla="*/ 1939656 w 8033654"/>
                  <a:gd name="connsiteY58" fmla="*/ 11959 h 7031915"/>
                  <a:gd name="connsiteX59" fmla="*/ 2058287 w 8033654"/>
                  <a:gd name="connsiteY59" fmla="*/ 0 h 7031915"/>
                  <a:gd name="connsiteX0" fmla="*/ 6556798 w 8033654"/>
                  <a:gd name="connsiteY0" fmla="*/ 533489 h 7031915"/>
                  <a:gd name="connsiteX1" fmla="*/ 6555365 w 8033654"/>
                  <a:gd name="connsiteY1" fmla="*/ 531027 h 7031915"/>
                  <a:gd name="connsiteX2" fmla="*/ 6556798 w 8033654"/>
                  <a:gd name="connsiteY2" fmla="*/ 533489 h 7031915"/>
                  <a:gd name="connsiteX3" fmla="*/ 6529086 w 8033654"/>
                  <a:gd name="connsiteY3" fmla="*/ 402424 h 7031915"/>
                  <a:gd name="connsiteX4" fmla="*/ 6540064 w 8033654"/>
                  <a:gd name="connsiteY4" fmla="*/ 434562 h 7031915"/>
                  <a:gd name="connsiteX5" fmla="*/ 6529086 w 8033654"/>
                  <a:gd name="connsiteY5" fmla="*/ 402424 h 7031915"/>
                  <a:gd name="connsiteX6" fmla="*/ 6482461 w 8033654"/>
                  <a:gd name="connsiteY6" fmla="*/ 295697 h 7031915"/>
                  <a:gd name="connsiteX7" fmla="*/ 6520430 w 8033654"/>
                  <a:gd name="connsiteY7" fmla="*/ 377086 h 7031915"/>
                  <a:gd name="connsiteX8" fmla="*/ 6515577 w 8033654"/>
                  <a:gd name="connsiteY8" fmla="*/ 362878 h 7031915"/>
                  <a:gd name="connsiteX9" fmla="*/ 6482461 w 8033654"/>
                  <a:gd name="connsiteY9" fmla="*/ 295697 h 7031915"/>
                  <a:gd name="connsiteX10" fmla="*/ 2058287 w 8033654"/>
                  <a:gd name="connsiteY10" fmla="*/ 0 h 7031915"/>
                  <a:gd name="connsiteX11" fmla="*/ 2058326 w 8033654"/>
                  <a:gd name="connsiteY11" fmla="*/ 0 h 7031915"/>
                  <a:gd name="connsiteX12" fmla="*/ 5971699 w 8033654"/>
                  <a:gd name="connsiteY12" fmla="*/ 0 h 7031915"/>
                  <a:gd name="connsiteX13" fmla="*/ 5971700 w 8033654"/>
                  <a:gd name="connsiteY13" fmla="*/ 0 h 7031915"/>
                  <a:gd name="connsiteX14" fmla="*/ 5971740 w 8033654"/>
                  <a:gd name="connsiteY14" fmla="*/ 0 h 7031915"/>
                  <a:gd name="connsiteX15" fmla="*/ 6090371 w 8033654"/>
                  <a:gd name="connsiteY15" fmla="*/ 11959 h 7031915"/>
                  <a:gd name="connsiteX16" fmla="*/ 6357004 w 8033654"/>
                  <a:gd name="connsiteY16" fmla="*/ 143562 h 7031915"/>
                  <a:gd name="connsiteX17" fmla="*/ 6421756 w 8033654"/>
                  <a:gd name="connsiteY17" fmla="*/ 209878 h 7031915"/>
                  <a:gd name="connsiteX18" fmla="*/ 6426018 w 8033654"/>
                  <a:gd name="connsiteY18" fmla="*/ 214243 h 7031915"/>
                  <a:gd name="connsiteX19" fmla="*/ 6463356 w 8033654"/>
                  <a:gd name="connsiteY19" fmla="*/ 268125 h 7031915"/>
                  <a:gd name="connsiteX20" fmla="*/ 6480094 w 8033654"/>
                  <a:gd name="connsiteY20" fmla="*/ 292278 h 7031915"/>
                  <a:gd name="connsiteX21" fmla="*/ 6490605 w 8033654"/>
                  <a:gd name="connsiteY21" fmla="*/ 298322 h 7031915"/>
                  <a:gd name="connsiteX22" fmla="*/ 7949332 w 8033654"/>
                  <a:gd name="connsiteY22" fmla="*/ 3216682 h 7031915"/>
                  <a:gd name="connsiteX23" fmla="*/ 7992299 w 8033654"/>
                  <a:gd name="connsiteY23" fmla="*/ 3302616 h 7031915"/>
                  <a:gd name="connsiteX24" fmla="*/ 8021693 w 8033654"/>
                  <a:gd name="connsiteY24" fmla="*/ 3397306 h 7031915"/>
                  <a:gd name="connsiteX25" fmla="*/ 8033654 w 8033654"/>
                  <a:gd name="connsiteY25" fmla="*/ 3515957 h 7031915"/>
                  <a:gd name="connsiteX26" fmla="*/ 8021693 w 8033654"/>
                  <a:gd name="connsiteY26" fmla="*/ 3634608 h 7031915"/>
                  <a:gd name="connsiteX27" fmla="*/ 7992299 w 8033654"/>
                  <a:gd name="connsiteY27" fmla="*/ 3729298 h 7031915"/>
                  <a:gd name="connsiteX28" fmla="*/ 7949332 w 8033654"/>
                  <a:gd name="connsiteY28" fmla="*/ 3815232 h 7031915"/>
                  <a:gd name="connsiteX29" fmla="*/ 6535055 w 8033654"/>
                  <a:gd name="connsiteY29" fmla="*/ 6638796 h 7031915"/>
                  <a:gd name="connsiteX30" fmla="*/ 6524461 w 8033654"/>
                  <a:gd name="connsiteY30" fmla="*/ 6646190 h 7031915"/>
                  <a:gd name="connsiteX31" fmla="*/ 6482456 w 8033654"/>
                  <a:gd name="connsiteY31" fmla="*/ 6736229 h 7031915"/>
                  <a:gd name="connsiteX32" fmla="*/ 6090371 w 8033654"/>
                  <a:gd name="connsiteY32" fmla="*/ 7019956 h 7031915"/>
                  <a:gd name="connsiteX33" fmla="*/ 5971740 w 8033654"/>
                  <a:gd name="connsiteY33" fmla="*/ 7031915 h 7031915"/>
                  <a:gd name="connsiteX34" fmla="*/ 5971700 w 8033654"/>
                  <a:gd name="connsiteY34" fmla="*/ 7031915 h 7031915"/>
                  <a:gd name="connsiteX35" fmla="*/ 2058326 w 8033654"/>
                  <a:gd name="connsiteY35" fmla="*/ 7031915 h 7031915"/>
                  <a:gd name="connsiteX36" fmla="*/ 2176958 w 8033654"/>
                  <a:gd name="connsiteY36" fmla="*/ 7019956 h 7031915"/>
                  <a:gd name="connsiteX37" fmla="*/ 2176957 w 8033654"/>
                  <a:gd name="connsiteY37" fmla="*/ 7019956 h 7031915"/>
                  <a:gd name="connsiteX38" fmla="*/ 2058326 w 8033654"/>
                  <a:gd name="connsiteY38" fmla="*/ 7031915 h 7031915"/>
                  <a:gd name="connsiteX39" fmla="*/ 2058286 w 8033654"/>
                  <a:gd name="connsiteY39" fmla="*/ 7031915 h 7031915"/>
                  <a:gd name="connsiteX40" fmla="*/ 1939655 w 8033654"/>
                  <a:gd name="connsiteY40" fmla="*/ 7019956 h 7031915"/>
                  <a:gd name="connsiteX41" fmla="*/ 1642007 w 8033654"/>
                  <a:gd name="connsiteY41" fmla="*/ 6859480 h 7031915"/>
                  <a:gd name="connsiteX42" fmla="*/ 1570173 w 8033654"/>
                  <a:gd name="connsiteY42" fmla="*/ 6772417 h 7031915"/>
                  <a:gd name="connsiteX43" fmla="*/ 1508795 w 8033654"/>
                  <a:gd name="connsiteY43" fmla="*/ 6649661 h 7031915"/>
                  <a:gd name="connsiteX44" fmla="*/ 1508794 w 8033654"/>
                  <a:gd name="connsiteY44" fmla="*/ 6649657 h 7031915"/>
                  <a:gd name="connsiteX45" fmla="*/ 115723 w 8033654"/>
                  <a:gd name="connsiteY45" fmla="*/ 3863519 h 7031915"/>
                  <a:gd name="connsiteX46" fmla="*/ 115722 w 8033654"/>
                  <a:gd name="connsiteY46" fmla="*/ 3863518 h 7031915"/>
                  <a:gd name="connsiteX47" fmla="*/ 29470 w 8033654"/>
                  <a:gd name="connsiteY47" fmla="*/ 3691014 h 7031915"/>
                  <a:gd name="connsiteX48" fmla="*/ 11962 w 8033654"/>
                  <a:gd name="connsiteY48" fmla="*/ 3634608 h 7031915"/>
                  <a:gd name="connsiteX49" fmla="*/ 0 w 8033654"/>
                  <a:gd name="connsiteY49" fmla="*/ 3515957 h 7031915"/>
                  <a:gd name="connsiteX50" fmla="*/ 11962 w 8033654"/>
                  <a:gd name="connsiteY50" fmla="*/ 3397306 h 7031915"/>
                  <a:gd name="connsiteX51" fmla="*/ 29470 w 8033654"/>
                  <a:gd name="connsiteY51" fmla="*/ 3340901 h 7031915"/>
                  <a:gd name="connsiteX52" fmla="*/ 115722 w 8033654"/>
                  <a:gd name="connsiteY52" fmla="*/ 3168396 h 7031915"/>
                  <a:gd name="connsiteX53" fmla="*/ 115723 w 8033654"/>
                  <a:gd name="connsiteY53" fmla="*/ 3168396 h 7031915"/>
                  <a:gd name="connsiteX54" fmla="*/ 1508796 w 8033654"/>
                  <a:gd name="connsiteY54" fmla="*/ 382255 h 7031915"/>
                  <a:gd name="connsiteX55" fmla="*/ 1570174 w 8033654"/>
                  <a:gd name="connsiteY55" fmla="*/ 259499 h 7031915"/>
                  <a:gd name="connsiteX56" fmla="*/ 1642008 w 8033654"/>
                  <a:gd name="connsiteY56" fmla="*/ 172435 h 7031915"/>
                  <a:gd name="connsiteX57" fmla="*/ 1939656 w 8033654"/>
                  <a:gd name="connsiteY57" fmla="*/ 11959 h 7031915"/>
                  <a:gd name="connsiteX58" fmla="*/ 2058287 w 8033654"/>
                  <a:gd name="connsiteY58"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6490605 w 8033654"/>
                  <a:gd name="connsiteY18" fmla="*/ 298322 h 7031915"/>
                  <a:gd name="connsiteX19" fmla="*/ 7949332 w 8033654"/>
                  <a:gd name="connsiteY19" fmla="*/ 3216682 h 7031915"/>
                  <a:gd name="connsiteX20" fmla="*/ 7992299 w 8033654"/>
                  <a:gd name="connsiteY20" fmla="*/ 3302616 h 7031915"/>
                  <a:gd name="connsiteX21" fmla="*/ 8021693 w 8033654"/>
                  <a:gd name="connsiteY21" fmla="*/ 3397306 h 7031915"/>
                  <a:gd name="connsiteX22" fmla="*/ 8033654 w 8033654"/>
                  <a:gd name="connsiteY22" fmla="*/ 3515957 h 7031915"/>
                  <a:gd name="connsiteX23" fmla="*/ 8021693 w 8033654"/>
                  <a:gd name="connsiteY23" fmla="*/ 3634608 h 7031915"/>
                  <a:gd name="connsiteX24" fmla="*/ 7992299 w 8033654"/>
                  <a:gd name="connsiteY24" fmla="*/ 3729298 h 7031915"/>
                  <a:gd name="connsiteX25" fmla="*/ 7949332 w 8033654"/>
                  <a:gd name="connsiteY25" fmla="*/ 3815232 h 7031915"/>
                  <a:gd name="connsiteX26" fmla="*/ 6535055 w 8033654"/>
                  <a:gd name="connsiteY26" fmla="*/ 6638796 h 7031915"/>
                  <a:gd name="connsiteX27" fmla="*/ 6524461 w 8033654"/>
                  <a:gd name="connsiteY27" fmla="*/ 6646190 h 7031915"/>
                  <a:gd name="connsiteX28" fmla="*/ 6482456 w 8033654"/>
                  <a:gd name="connsiteY28" fmla="*/ 6736229 h 7031915"/>
                  <a:gd name="connsiteX29" fmla="*/ 6090371 w 8033654"/>
                  <a:gd name="connsiteY29" fmla="*/ 7019956 h 7031915"/>
                  <a:gd name="connsiteX30" fmla="*/ 5971740 w 8033654"/>
                  <a:gd name="connsiteY30" fmla="*/ 7031915 h 7031915"/>
                  <a:gd name="connsiteX31" fmla="*/ 5971700 w 8033654"/>
                  <a:gd name="connsiteY31" fmla="*/ 7031915 h 7031915"/>
                  <a:gd name="connsiteX32" fmla="*/ 2058326 w 8033654"/>
                  <a:gd name="connsiteY32" fmla="*/ 7031915 h 7031915"/>
                  <a:gd name="connsiteX33" fmla="*/ 2176958 w 8033654"/>
                  <a:gd name="connsiteY33" fmla="*/ 7019956 h 7031915"/>
                  <a:gd name="connsiteX34" fmla="*/ 2176957 w 8033654"/>
                  <a:gd name="connsiteY34" fmla="*/ 7019956 h 7031915"/>
                  <a:gd name="connsiteX35" fmla="*/ 2058326 w 8033654"/>
                  <a:gd name="connsiteY35" fmla="*/ 7031915 h 7031915"/>
                  <a:gd name="connsiteX36" fmla="*/ 2058286 w 8033654"/>
                  <a:gd name="connsiteY36" fmla="*/ 7031915 h 7031915"/>
                  <a:gd name="connsiteX37" fmla="*/ 1939655 w 8033654"/>
                  <a:gd name="connsiteY37" fmla="*/ 7019956 h 7031915"/>
                  <a:gd name="connsiteX38" fmla="*/ 1642007 w 8033654"/>
                  <a:gd name="connsiteY38" fmla="*/ 6859480 h 7031915"/>
                  <a:gd name="connsiteX39" fmla="*/ 1570173 w 8033654"/>
                  <a:gd name="connsiteY39" fmla="*/ 6772417 h 7031915"/>
                  <a:gd name="connsiteX40" fmla="*/ 1508795 w 8033654"/>
                  <a:gd name="connsiteY40" fmla="*/ 6649661 h 7031915"/>
                  <a:gd name="connsiteX41" fmla="*/ 1508794 w 8033654"/>
                  <a:gd name="connsiteY41" fmla="*/ 6649657 h 7031915"/>
                  <a:gd name="connsiteX42" fmla="*/ 115723 w 8033654"/>
                  <a:gd name="connsiteY42" fmla="*/ 3863519 h 7031915"/>
                  <a:gd name="connsiteX43" fmla="*/ 115722 w 8033654"/>
                  <a:gd name="connsiteY43" fmla="*/ 3863518 h 7031915"/>
                  <a:gd name="connsiteX44" fmla="*/ 29470 w 8033654"/>
                  <a:gd name="connsiteY44" fmla="*/ 3691014 h 7031915"/>
                  <a:gd name="connsiteX45" fmla="*/ 11962 w 8033654"/>
                  <a:gd name="connsiteY45" fmla="*/ 3634608 h 7031915"/>
                  <a:gd name="connsiteX46" fmla="*/ 0 w 8033654"/>
                  <a:gd name="connsiteY46" fmla="*/ 3515957 h 7031915"/>
                  <a:gd name="connsiteX47" fmla="*/ 11962 w 8033654"/>
                  <a:gd name="connsiteY47" fmla="*/ 3397306 h 7031915"/>
                  <a:gd name="connsiteX48" fmla="*/ 29470 w 8033654"/>
                  <a:gd name="connsiteY48" fmla="*/ 3340901 h 7031915"/>
                  <a:gd name="connsiteX49" fmla="*/ 115722 w 8033654"/>
                  <a:gd name="connsiteY49" fmla="*/ 3168396 h 7031915"/>
                  <a:gd name="connsiteX50" fmla="*/ 115723 w 8033654"/>
                  <a:gd name="connsiteY50" fmla="*/ 3168396 h 7031915"/>
                  <a:gd name="connsiteX51" fmla="*/ 1508796 w 8033654"/>
                  <a:gd name="connsiteY51" fmla="*/ 382255 h 7031915"/>
                  <a:gd name="connsiteX52" fmla="*/ 1570174 w 8033654"/>
                  <a:gd name="connsiteY52" fmla="*/ 259499 h 7031915"/>
                  <a:gd name="connsiteX53" fmla="*/ 1642008 w 8033654"/>
                  <a:gd name="connsiteY53" fmla="*/ 172435 h 7031915"/>
                  <a:gd name="connsiteX54" fmla="*/ 1939656 w 8033654"/>
                  <a:gd name="connsiteY54" fmla="*/ 11959 h 7031915"/>
                  <a:gd name="connsiteX55" fmla="*/ 2058287 w 8033654"/>
                  <a:gd name="connsiteY55"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515577 w 8033654"/>
                  <a:gd name="connsiteY5" fmla="*/ 362878 h 7031915"/>
                  <a:gd name="connsiteX6" fmla="*/ 6482461 w 8033654"/>
                  <a:gd name="connsiteY6" fmla="*/ 295697 h 7031915"/>
                  <a:gd name="connsiteX7" fmla="*/ 2058287 w 8033654"/>
                  <a:gd name="connsiteY7" fmla="*/ 0 h 7031915"/>
                  <a:gd name="connsiteX8" fmla="*/ 2058326 w 8033654"/>
                  <a:gd name="connsiteY8" fmla="*/ 0 h 7031915"/>
                  <a:gd name="connsiteX9" fmla="*/ 5971699 w 8033654"/>
                  <a:gd name="connsiteY9" fmla="*/ 0 h 7031915"/>
                  <a:gd name="connsiteX10" fmla="*/ 5971700 w 8033654"/>
                  <a:gd name="connsiteY10" fmla="*/ 0 h 7031915"/>
                  <a:gd name="connsiteX11" fmla="*/ 5971740 w 8033654"/>
                  <a:gd name="connsiteY11" fmla="*/ 0 h 7031915"/>
                  <a:gd name="connsiteX12" fmla="*/ 6090371 w 8033654"/>
                  <a:gd name="connsiteY12" fmla="*/ 11959 h 7031915"/>
                  <a:gd name="connsiteX13" fmla="*/ 6357004 w 8033654"/>
                  <a:gd name="connsiteY13" fmla="*/ 143562 h 7031915"/>
                  <a:gd name="connsiteX14" fmla="*/ 6421756 w 8033654"/>
                  <a:gd name="connsiteY14" fmla="*/ 209878 h 7031915"/>
                  <a:gd name="connsiteX15" fmla="*/ 6426018 w 8033654"/>
                  <a:gd name="connsiteY15" fmla="*/ 214243 h 7031915"/>
                  <a:gd name="connsiteX16" fmla="*/ 6463356 w 8033654"/>
                  <a:gd name="connsiteY16" fmla="*/ 268125 h 7031915"/>
                  <a:gd name="connsiteX17" fmla="*/ 6480094 w 8033654"/>
                  <a:gd name="connsiteY17" fmla="*/ 292278 h 7031915"/>
                  <a:gd name="connsiteX18" fmla="*/ 7949332 w 8033654"/>
                  <a:gd name="connsiteY18" fmla="*/ 3216682 h 7031915"/>
                  <a:gd name="connsiteX19" fmla="*/ 7992299 w 8033654"/>
                  <a:gd name="connsiteY19" fmla="*/ 3302616 h 7031915"/>
                  <a:gd name="connsiteX20" fmla="*/ 8021693 w 8033654"/>
                  <a:gd name="connsiteY20" fmla="*/ 3397306 h 7031915"/>
                  <a:gd name="connsiteX21" fmla="*/ 8033654 w 8033654"/>
                  <a:gd name="connsiteY21" fmla="*/ 3515957 h 7031915"/>
                  <a:gd name="connsiteX22" fmla="*/ 8021693 w 8033654"/>
                  <a:gd name="connsiteY22" fmla="*/ 3634608 h 7031915"/>
                  <a:gd name="connsiteX23" fmla="*/ 7992299 w 8033654"/>
                  <a:gd name="connsiteY23" fmla="*/ 3729298 h 7031915"/>
                  <a:gd name="connsiteX24" fmla="*/ 7949332 w 8033654"/>
                  <a:gd name="connsiteY24" fmla="*/ 3815232 h 7031915"/>
                  <a:gd name="connsiteX25" fmla="*/ 6535055 w 8033654"/>
                  <a:gd name="connsiteY25" fmla="*/ 6638796 h 7031915"/>
                  <a:gd name="connsiteX26" fmla="*/ 6524461 w 8033654"/>
                  <a:gd name="connsiteY26" fmla="*/ 6646190 h 7031915"/>
                  <a:gd name="connsiteX27" fmla="*/ 6482456 w 8033654"/>
                  <a:gd name="connsiteY27" fmla="*/ 6736229 h 7031915"/>
                  <a:gd name="connsiteX28" fmla="*/ 6090371 w 8033654"/>
                  <a:gd name="connsiteY28" fmla="*/ 7019956 h 7031915"/>
                  <a:gd name="connsiteX29" fmla="*/ 5971740 w 8033654"/>
                  <a:gd name="connsiteY29" fmla="*/ 7031915 h 7031915"/>
                  <a:gd name="connsiteX30" fmla="*/ 5971700 w 8033654"/>
                  <a:gd name="connsiteY30" fmla="*/ 7031915 h 7031915"/>
                  <a:gd name="connsiteX31" fmla="*/ 2058326 w 8033654"/>
                  <a:gd name="connsiteY31" fmla="*/ 7031915 h 7031915"/>
                  <a:gd name="connsiteX32" fmla="*/ 2176958 w 8033654"/>
                  <a:gd name="connsiteY32" fmla="*/ 7019956 h 7031915"/>
                  <a:gd name="connsiteX33" fmla="*/ 2176957 w 8033654"/>
                  <a:gd name="connsiteY33" fmla="*/ 7019956 h 7031915"/>
                  <a:gd name="connsiteX34" fmla="*/ 2058326 w 8033654"/>
                  <a:gd name="connsiteY34" fmla="*/ 7031915 h 7031915"/>
                  <a:gd name="connsiteX35" fmla="*/ 2058286 w 8033654"/>
                  <a:gd name="connsiteY35" fmla="*/ 7031915 h 7031915"/>
                  <a:gd name="connsiteX36" fmla="*/ 1939655 w 8033654"/>
                  <a:gd name="connsiteY36" fmla="*/ 7019956 h 7031915"/>
                  <a:gd name="connsiteX37" fmla="*/ 1642007 w 8033654"/>
                  <a:gd name="connsiteY37" fmla="*/ 6859480 h 7031915"/>
                  <a:gd name="connsiteX38" fmla="*/ 1570173 w 8033654"/>
                  <a:gd name="connsiteY38" fmla="*/ 6772417 h 7031915"/>
                  <a:gd name="connsiteX39" fmla="*/ 1508795 w 8033654"/>
                  <a:gd name="connsiteY39" fmla="*/ 6649661 h 7031915"/>
                  <a:gd name="connsiteX40" fmla="*/ 1508794 w 8033654"/>
                  <a:gd name="connsiteY40" fmla="*/ 6649657 h 7031915"/>
                  <a:gd name="connsiteX41" fmla="*/ 115723 w 8033654"/>
                  <a:gd name="connsiteY41" fmla="*/ 3863519 h 7031915"/>
                  <a:gd name="connsiteX42" fmla="*/ 115722 w 8033654"/>
                  <a:gd name="connsiteY42" fmla="*/ 3863518 h 7031915"/>
                  <a:gd name="connsiteX43" fmla="*/ 29470 w 8033654"/>
                  <a:gd name="connsiteY43" fmla="*/ 3691014 h 7031915"/>
                  <a:gd name="connsiteX44" fmla="*/ 11962 w 8033654"/>
                  <a:gd name="connsiteY44" fmla="*/ 3634608 h 7031915"/>
                  <a:gd name="connsiteX45" fmla="*/ 0 w 8033654"/>
                  <a:gd name="connsiteY45" fmla="*/ 3515957 h 7031915"/>
                  <a:gd name="connsiteX46" fmla="*/ 11962 w 8033654"/>
                  <a:gd name="connsiteY46" fmla="*/ 3397306 h 7031915"/>
                  <a:gd name="connsiteX47" fmla="*/ 29470 w 8033654"/>
                  <a:gd name="connsiteY47" fmla="*/ 3340901 h 7031915"/>
                  <a:gd name="connsiteX48" fmla="*/ 115722 w 8033654"/>
                  <a:gd name="connsiteY48" fmla="*/ 3168396 h 7031915"/>
                  <a:gd name="connsiteX49" fmla="*/ 115723 w 8033654"/>
                  <a:gd name="connsiteY49" fmla="*/ 3168396 h 7031915"/>
                  <a:gd name="connsiteX50" fmla="*/ 1508796 w 8033654"/>
                  <a:gd name="connsiteY50" fmla="*/ 382255 h 7031915"/>
                  <a:gd name="connsiteX51" fmla="*/ 1570174 w 8033654"/>
                  <a:gd name="connsiteY51" fmla="*/ 259499 h 7031915"/>
                  <a:gd name="connsiteX52" fmla="*/ 1642008 w 8033654"/>
                  <a:gd name="connsiteY52" fmla="*/ 172435 h 7031915"/>
                  <a:gd name="connsiteX53" fmla="*/ 1939656 w 8033654"/>
                  <a:gd name="connsiteY53" fmla="*/ 11959 h 7031915"/>
                  <a:gd name="connsiteX54" fmla="*/ 2058287 w 8033654"/>
                  <a:gd name="connsiteY54"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6482461 w 8033654"/>
                  <a:gd name="connsiteY3" fmla="*/ 295697 h 7031915"/>
                  <a:gd name="connsiteX4" fmla="*/ 6520430 w 8033654"/>
                  <a:gd name="connsiteY4" fmla="*/ 377086 h 7031915"/>
                  <a:gd name="connsiteX5" fmla="*/ 6482461 w 8033654"/>
                  <a:gd name="connsiteY5" fmla="*/ 295697 h 7031915"/>
                  <a:gd name="connsiteX6" fmla="*/ 2058287 w 8033654"/>
                  <a:gd name="connsiteY6" fmla="*/ 0 h 7031915"/>
                  <a:gd name="connsiteX7" fmla="*/ 2058326 w 8033654"/>
                  <a:gd name="connsiteY7" fmla="*/ 0 h 7031915"/>
                  <a:gd name="connsiteX8" fmla="*/ 5971699 w 8033654"/>
                  <a:gd name="connsiteY8" fmla="*/ 0 h 7031915"/>
                  <a:gd name="connsiteX9" fmla="*/ 5971700 w 8033654"/>
                  <a:gd name="connsiteY9" fmla="*/ 0 h 7031915"/>
                  <a:gd name="connsiteX10" fmla="*/ 5971740 w 8033654"/>
                  <a:gd name="connsiteY10" fmla="*/ 0 h 7031915"/>
                  <a:gd name="connsiteX11" fmla="*/ 6090371 w 8033654"/>
                  <a:gd name="connsiteY11" fmla="*/ 11959 h 7031915"/>
                  <a:gd name="connsiteX12" fmla="*/ 6357004 w 8033654"/>
                  <a:gd name="connsiteY12" fmla="*/ 143562 h 7031915"/>
                  <a:gd name="connsiteX13" fmla="*/ 6421756 w 8033654"/>
                  <a:gd name="connsiteY13" fmla="*/ 209878 h 7031915"/>
                  <a:gd name="connsiteX14" fmla="*/ 6426018 w 8033654"/>
                  <a:gd name="connsiteY14" fmla="*/ 214243 h 7031915"/>
                  <a:gd name="connsiteX15" fmla="*/ 6463356 w 8033654"/>
                  <a:gd name="connsiteY15" fmla="*/ 268125 h 7031915"/>
                  <a:gd name="connsiteX16" fmla="*/ 6480094 w 8033654"/>
                  <a:gd name="connsiteY16" fmla="*/ 292278 h 7031915"/>
                  <a:gd name="connsiteX17" fmla="*/ 7949332 w 8033654"/>
                  <a:gd name="connsiteY17" fmla="*/ 3216682 h 7031915"/>
                  <a:gd name="connsiteX18" fmla="*/ 7992299 w 8033654"/>
                  <a:gd name="connsiteY18" fmla="*/ 3302616 h 7031915"/>
                  <a:gd name="connsiteX19" fmla="*/ 8021693 w 8033654"/>
                  <a:gd name="connsiteY19" fmla="*/ 3397306 h 7031915"/>
                  <a:gd name="connsiteX20" fmla="*/ 8033654 w 8033654"/>
                  <a:gd name="connsiteY20" fmla="*/ 3515957 h 7031915"/>
                  <a:gd name="connsiteX21" fmla="*/ 8021693 w 8033654"/>
                  <a:gd name="connsiteY21" fmla="*/ 3634608 h 7031915"/>
                  <a:gd name="connsiteX22" fmla="*/ 7992299 w 8033654"/>
                  <a:gd name="connsiteY22" fmla="*/ 3729298 h 7031915"/>
                  <a:gd name="connsiteX23" fmla="*/ 7949332 w 8033654"/>
                  <a:gd name="connsiteY23" fmla="*/ 3815232 h 7031915"/>
                  <a:gd name="connsiteX24" fmla="*/ 6535055 w 8033654"/>
                  <a:gd name="connsiteY24" fmla="*/ 6638796 h 7031915"/>
                  <a:gd name="connsiteX25" fmla="*/ 6524461 w 8033654"/>
                  <a:gd name="connsiteY25" fmla="*/ 6646190 h 7031915"/>
                  <a:gd name="connsiteX26" fmla="*/ 6482456 w 8033654"/>
                  <a:gd name="connsiteY26" fmla="*/ 6736229 h 7031915"/>
                  <a:gd name="connsiteX27" fmla="*/ 6090371 w 8033654"/>
                  <a:gd name="connsiteY27" fmla="*/ 7019956 h 7031915"/>
                  <a:gd name="connsiteX28" fmla="*/ 5971740 w 8033654"/>
                  <a:gd name="connsiteY28" fmla="*/ 7031915 h 7031915"/>
                  <a:gd name="connsiteX29" fmla="*/ 5971700 w 8033654"/>
                  <a:gd name="connsiteY29" fmla="*/ 7031915 h 7031915"/>
                  <a:gd name="connsiteX30" fmla="*/ 2058326 w 8033654"/>
                  <a:gd name="connsiteY30" fmla="*/ 7031915 h 7031915"/>
                  <a:gd name="connsiteX31" fmla="*/ 2176958 w 8033654"/>
                  <a:gd name="connsiteY31" fmla="*/ 7019956 h 7031915"/>
                  <a:gd name="connsiteX32" fmla="*/ 2176957 w 8033654"/>
                  <a:gd name="connsiteY32" fmla="*/ 7019956 h 7031915"/>
                  <a:gd name="connsiteX33" fmla="*/ 2058326 w 8033654"/>
                  <a:gd name="connsiteY33" fmla="*/ 7031915 h 7031915"/>
                  <a:gd name="connsiteX34" fmla="*/ 2058286 w 8033654"/>
                  <a:gd name="connsiteY34" fmla="*/ 7031915 h 7031915"/>
                  <a:gd name="connsiteX35" fmla="*/ 1939655 w 8033654"/>
                  <a:gd name="connsiteY35" fmla="*/ 7019956 h 7031915"/>
                  <a:gd name="connsiteX36" fmla="*/ 1642007 w 8033654"/>
                  <a:gd name="connsiteY36" fmla="*/ 6859480 h 7031915"/>
                  <a:gd name="connsiteX37" fmla="*/ 1570173 w 8033654"/>
                  <a:gd name="connsiteY37" fmla="*/ 6772417 h 7031915"/>
                  <a:gd name="connsiteX38" fmla="*/ 1508795 w 8033654"/>
                  <a:gd name="connsiteY38" fmla="*/ 6649661 h 7031915"/>
                  <a:gd name="connsiteX39" fmla="*/ 1508794 w 8033654"/>
                  <a:gd name="connsiteY39" fmla="*/ 6649657 h 7031915"/>
                  <a:gd name="connsiteX40" fmla="*/ 115723 w 8033654"/>
                  <a:gd name="connsiteY40" fmla="*/ 3863519 h 7031915"/>
                  <a:gd name="connsiteX41" fmla="*/ 115722 w 8033654"/>
                  <a:gd name="connsiteY41" fmla="*/ 3863518 h 7031915"/>
                  <a:gd name="connsiteX42" fmla="*/ 29470 w 8033654"/>
                  <a:gd name="connsiteY42" fmla="*/ 3691014 h 7031915"/>
                  <a:gd name="connsiteX43" fmla="*/ 11962 w 8033654"/>
                  <a:gd name="connsiteY43" fmla="*/ 3634608 h 7031915"/>
                  <a:gd name="connsiteX44" fmla="*/ 0 w 8033654"/>
                  <a:gd name="connsiteY44" fmla="*/ 3515957 h 7031915"/>
                  <a:gd name="connsiteX45" fmla="*/ 11962 w 8033654"/>
                  <a:gd name="connsiteY45" fmla="*/ 3397306 h 7031915"/>
                  <a:gd name="connsiteX46" fmla="*/ 29470 w 8033654"/>
                  <a:gd name="connsiteY46" fmla="*/ 3340901 h 7031915"/>
                  <a:gd name="connsiteX47" fmla="*/ 115722 w 8033654"/>
                  <a:gd name="connsiteY47" fmla="*/ 3168396 h 7031915"/>
                  <a:gd name="connsiteX48" fmla="*/ 115723 w 8033654"/>
                  <a:gd name="connsiteY48" fmla="*/ 3168396 h 7031915"/>
                  <a:gd name="connsiteX49" fmla="*/ 1508796 w 8033654"/>
                  <a:gd name="connsiteY49" fmla="*/ 382255 h 7031915"/>
                  <a:gd name="connsiteX50" fmla="*/ 1570174 w 8033654"/>
                  <a:gd name="connsiteY50" fmla="*/ 259499 h 7031915"/>
                  <a:gd name="connsiteX51" fmla="*/ 1642008 w 8033654"/>
                  <a:gd name="connsiteY51" fmla="*/ 172435 h 7031915"/>
                  <a:gd name="connsiteX52" fmla="*/ 1939656 w 8033654"/>
                  <a:gd name="connsiteY52" fmla="*/ 11959 h 7031915"/>
                  <a:gd name="connsiteX53" fmla="*/ 2058287 w 8033654"/>
                  <a:gd name="connsiteY53" fmla="*/ 0 h 7031915"/>
                  <a:gd name="connsiteX0" fmla="*/ 6529086 w 8033654"/>
                  <a:gd name="connsiteY0" fmla="*/ 402424 h 7031915"/>
                  <a:gd name="connsiteX1" fmla="*/ 6540064 w 8033654"/>
                  <a:gd name="connsiteY1" fmla="*/ 434562 h 7031915"/>
                  <a:gd name="connsiteX2" fmla="*/ 6529086 w 8033654"/>
                  <a:gd name="connsiteY2" fmla="*/ 402424 h 7031915"/>
                  <a:gd name="connsiteX3" fmla="*/ 2058287 w 8033654"/>
                  <a:gd name="connsiteY3" fmla="*/ 0 h 7031915"/>
                  <a:gd name="connsiteX4" fmla="*/ 2058326 w 8033654"/>
                  <a:gd name="connsiteY4" fmla="*/ 0 h 7031915"/>
                  <a:gd name="connsiteX5" fmla="*/ 5971699 w 8033654"/>
                  <a:gd name="connsiteY5" fmla="*/ 0 h 7031915"/>
                  <a:gd name="connsiteX6" fmla="*/ 5971700 w 8033654"/>
                  <a:gd name="connsiteY6" fmla="*/ 0 h 7031915"/>
                  <a:gd name="connsiteX7" fmla="*/ 5971740 w 8033654"/>
                  <a:gd name="connsiteY7" fmla="*/ 0 h 7031915"/>
                  <a:gd name="connsiteX8" fmla="*/ 6090371 w 8033654"/>
                  <a:gd name="connsiteY8" fmla="*/ 11959 h 7031915"/>
                  <a:gd name="connsiteX9" fmla="*/ 6357004 w 8033654"/>
                  <a:gd name="connsiteY9" fmla="*/ 143562 h 7031915"/>
                  <a:gd name="connsiteX10" fmla="*/ 6421756 w 8033654"/>
                  <a:gd name="connsiteY10" fmla="*/ 209878 h 7031915"/>
                  <a:gd name="connsiteX11" fmla="*/ 6426018 w 8033654"/>
                  <a:gd name="connsiteY11" fmla="*/ 214243 h 7031915"/>
                  <a:gd name="connsiteX12" fmla="*/ 6463356 w 8033654"/>
                  <a:gd name="connsiteY12" fmla="*/ 268125 h 7031915"/>
                  <a:gd name="connsiteX13" fmla="*/ 6480094 w 8033654"/>
                  <a:gd name="connsiteY13" fmla="*/ 292278 h 7031915"/>
                  <a:gd name="connsiteX14" fmla="*/ 7949332 w 8033654"/>
                  <a:gd name="connsiteY14" fmla="*/ 3216682 h 7031915"/>
                  <a:gd name="connsiteX15" fmla="*/ 7992299 w 8033654"/>
                  <a:gd name="connsiteY15" fmla="*/ 3302616 h 7031915"/>
                  <a:gd name="connsiteX16" fmla="*/ 8021693 w 8033654"/>
                  <a:gd name="connsiteY16" fmla="*/ 3397306 h 7031915"/>
                  <a:gd name="connsiteX17" fmla="*/ 8033654 w 8033654"/>
                  <a:gd name="connsiteY17" fmla="*/ 3515957 h 7031915"/>
                  <a:gd name="connsiteX18" fmla="*/ 8021693 w 8033654"/>
                  <a:gd name="connsiteY18" fmla="*/ 3634608 h 7031915"/>
                  <a:gd name="connsiteX19" fmla="*/ 7992299 w 8033654"/>
                  <a:gd name="connsiteY19" fmla="*/ 3729298 h 7031915"/>
                  <a:gd name="connsiteX20" fmla="*/ 7949332 w 8033654"/>
                  <a:gd name="connsiteY20" fmla="*/ 3815232 h 7031915"/>
                  <a:gd name="connsiteX21" fmla="*/ 6535055 w 8033654"/>
                  <a:gd name="connsiteY21" fmla="*/ 6638796 h 7031915"/>
                  <a:gd name="connsiteX22" fmla="*/ 6524461 w 8033654"/>
                  <a:gd name="connsiteY22" fmla="*/ 6646190 h 7031915"/>
                  <a:gd name="connsiteX23" fmla="*/ 6482456 w 8033654"/>
                  <a:gd name="connsiteY23" fmla="*/ 6736229 h 7031915"/>
                  <a:gd name="connsiteX24" fmla="*/ 6090371 w 8033654"/>
                  <a:gd name="connsiteY24" fmla="*/ 7019956 h 7031915"/>
                  <a:gd name="connsiteX25" fmla="*/ 5971740 w 8033654"/>
                  <a:gd name="connsiteY25" fmla="*/ 7031915 h 7031915"/>
                  <a:gd name="connsiteX26" fmla="*/ 5971700 w 8033654"/>
                  <a:gd name="connsiteY26" fmla="*/ 7031915 h 7031915"/>
                  <a:gd name="connsiteX27" fmla="*/ 2058326 w 8033654"/>
                  <a:gd name="connsiteY27" fmla="*/ 7031915 h 7031915"/>
                  <a:gd name="connsiteX28" fmla="*/ 2176958 w 8033654"/>
                  <a:gd name="connsiteY28" fmla="*/ 7019956 h 7031915"/>
                  <a:gd name="connsiteX29" fmla="*/ 2176957 w 8033654"/>
                  <a:gd name="connsiteY29" fmla="*/ 7019956 h 7031915"/>
                  <a:gd name="connsiteX30" fmla="*/ 2058326 w 8033654"/>
                  <a:gd name="connsiteY30" fmla="*/ 7031915 h 7031915"/>
                  <a:gd name="connsiteX31" fmla="*/ 2058286 w 8033654"/>
                  <a:gd name="connsiteY31" fmla="*/ 7031915 h 7031915"/>
                  <a:gd name="connsiteX32" fmla="*/ 1939655 w 8033654"/>
                  <a:gd name="connsiteY32" fmla="*/ 7019956 h 7031915"/>
                  <a:gd name="connsiteX33" fmla="*/ 1642007 w 8033654"/>
                  <a:gd name="connsiteY33" fmla="*/ 6859480 h 7031915"/>
                  <a:gd name="connsiteX34" fmla="*/ 1570173 w 8033654"/>
                  <a:gd name="connsiteY34" fmla="*/ 6772417 h 7031915"/>
                  <a:gd name="connsiteX35" fmla="*/ 1508795 w 8033654"/>
                  <a:gd name="connsiteY35" fmla="*/ 6649661 h 7031915"/>
                  <a:gd name="connsiteX36" fmla="*/ 1508794 w 8033654"/>
                  <a:gd name="connsiteY36" fmla="*/ 6649657 h 7031915"/>
                  <a:gd name="connsiteX37" fmla="*/ 115723 w 8033654"/>
                  <a:gd name="connsiteY37" fmla="*/ 3863519 h 7031915"/>
                  <a:gd name="connsiteX38" fmla="*/ 115722 w 8033654"/>
                  <a:gd name="connsiteY38" fmla="*/ 3863518 h 7031915"/>
                  <a:gd name="connsiteX39" fmla="*/ 29470 w 8033654"/>
                  <a:gd name="connsiteY39" fmla="*/ 3691014 h 7031915"/>
                  <a:gd name="connsiteX40" fmla="*/ 11962 w 8033654"/>
                  <a:gd name="connsiteY40" fmla="*/ 3634608 h 7031915"/>
                  <a:gd name="connsiteX41" fmla="*/ 0 w 8033654"/>
                  <a:gd name="connsiteY41" fmla="*/ 3515957 h 7031915"/>
                  <a:gd name="connsiteX42" fmla="*/ 11962 w 8033654"/>
                  <a:gd name="connsiteY42" fmla="*/ 3397306 h 7031915"/>
                  <a:gd name="connsiteX43" fmla="*/ 29470 w 8033654"/>
                  <a:gd name="connsiteY43" fmla="*/ 3340901 h 7031915"/>
                  <a:gd name="connsiteX44" fmla="*/ 115722 w 8033654"/>
                  <a:gd name="connsiteY44" fmla="*/ 3168396 h 7031915"/>
                  <a:gd name="connsiteX45" fmla="*/ 115723 w 8033654"/>
                  <a:gd name="connsiteY45" fmla="*/ 3168396 h 7031915"/>
                  <a:gd name="connsiteX46" fmla="*/ 1508796 w 8033654"/>
                  <a:gd name="connsiteY46" fmla="*/ 382255 h 7031915"/>
                  <a:gd name="connsiteX47" fmla="*/ 1570174 w 8033654"/>
                  <a:gd name="connsiteY47" fmla="*/ 259499 h 7031915"/>
                  <a:gd name="connsiteX48" fmla="*/ 1642008 w 8033654"/>
                  <a:gd name="connsiteY48" fmla="*/ 172435 h 7031915"/>
                  <a:gd name="connsiteX49" fmla="*/ 1939656 w 8033654"/>
                  <a:gd name="connsiteY49" fmla="*/ 11959 h 7031915"/>
                  <a:gd name="connsiteX50" fmla="*/ 2058287 w 8033654"/>
                  <a:gd name="connsiteY50"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6480094 w 8033654"/>
                  <a:gd name="connsiteY10" fmla="*/ 292278 h 7031915"/>
                  <a:gd name="connsiteX11" fmla="*/ 7949332 w 8033654"/>
                  <a:gd name="connsiteY11" fmla="*/ 3216682 h 7031915"/>
                  <a:gd name="connsiteX12" fmla="*/ 7992299 w 8033654"/>
                  <a:gd name="connsiteY12" fmla="*/ 3302616 h 7031915"/>
                  <a:gd name="connsiteX13" fmla="*/ 8021693 w 8033654"/>
                  <a:gd name="connsiteY13" fmla="*/ 3397306 h 7031915"/>
                  <a:gd name="connsiteX14" fmla="*/ 8033654 w 8033654"/>
                  <a:gd name="connsiteY14" fmla="*/ 3515957 h 7031915"/>
                  <a:gd name="connsiteX15" fmla="*/ 8021693 w 8033654"/>
                  <a:gd name="connsiteY15" fmla="*/ 3634608 h 7031915"/>
                  <a:gd name="connsiteX16" fmla="*/ 7992299 w 8033654"/>
                  <a:gd name="connsiteY16" fmla="*/ 3729298 h 7031915"/>
                  <a:gd name="connsiteX17" fmla="*/ 7949332 w 8033654"/>
                  <a:gd name="connsiteY17" fmla="*/ 3815232 h 7031915"/>
                  <a:gd name="connsiteX18" fmla="*/ 6535055 w 8033654"/>
                  <a:gd name="connsiteY18" fmla="*/ 6638796 h 7031915"/>
                  <a:gd name="connsiteX19" fmla="*/ 6524461 w 8033654"/>
                  <a:gd name="connsiteY19" fmla="*/ 6646190 h 7031915"/>
                  <a:gd name="connsiteX20" fmla="*/ 6482456 w 8033654"/>
                  <a:gd name="connsiteY20" fmla="*/ 6736229 h 7031915"/>
                  <a:gd name="connsiteX21" fmla="*/ 6090371 w 8033654"/>
                  <a:gd name="connsiteY21" fmla="*/ 7019956 h 7031915"/>
                  <a:gd name="connsiteX22" fmla="*/ 5971740 w 8033654"/>
                  <a:gd name="connsiteY22" fmla="*/ 7031915 h 7031915"/>
                  <a:gd name="connsiteX23" fmla="*/ 5971700 w 8033654"/>
                  <a:gd name="connsiteY23" fmla="*/ 7031915 h 7031915"/>
                  <a:gd name="connsiteX24" fmla="*/ 2058326 w 8033654"/>
                  <a:gd name="connsiteY24" fmla="*/ 7031915 h 7031915"/>
                  <a:gd name="connsiteX25" fmla="*/ 2176958 w 8033654"/>
                  <a:gd name="connsiteY25" fmla="*/ 7019956 h 7031915"/>
                  <a:gd name="connsiteX26" fmla="*/ 2176957 w 8033654"/>
                  <a:gd name="connsiteY26" fmla="*/ 7019956 h 7031915"/>
                  <a:gd name="connsiteX27" fmla="*/ 2058326 w 8033654"/>
                  <a:gd name="connsiteY27" fmla="*/ 7031915 h 7031915"/>
                  <a:gd name="connsiteX28" fmla="*/ 2058286 w 8033654"/>
                  <a:gd name="connsiteY28" fmla="*/ 7031915 h 7031915"/>
                  <a:gd name="connsiteX29" fmla="*/ 1939655 w 8033654"/>
                  <a:gd name="connsiteY29" fmla="*/ 7019956 h 7031915"/>
                  <a:gd name="connsiteX30" fmla="*/ 1642007 w 8033654"/>
                  <a:gd name="connsiteY30" fmla="*/ 6859480 h 7031915"/>
                  <a:gd name="connsiteX31" fmla="*/ 1570173 w 8033654"/>
                  <a:gd name="connsiteY31" fmla="*/ 6772417 h 7031915"/>
                  <a:gd name="connsiteX32" fmla="*/ 1508795 w 8033654"/>
                  <a:gd name="connsiteY32" fmla="*/ 6649661 h 7031915"/>
                  <a:gd name="connsiteX33" fmla="*/ 1508794 w 8033654"/>
                  <a:gd name="connsiteY33" fmla="*/ 6649657 h 7031915"/>
                  <a:gd name="connsiteX34" fmla="*/ 115723 w 8033654"/>
                  <a:gd name="connsiteY34" fmla="*/ 3863519 h 7031915"/>
                  <a:gd name="connsiteX35" fmla="*/ 115722 w 8033654"/>
                  <a:gd name="connsiteY35" fmla="*/ 3863518 h 7031915"/>
                  <a:gd name="connsiteX36" fmla="*/ 29470 w 8033654"/>
                  <a:gd name="connsiteY36" fmla="*/ 3691014 h 7031915"/>
                  <a:gd name="connsiteX37" fmla="*/ 11962 w 8033654"/>
                  <a:gd name="connsiteY37" fmla="*/ 3634608 h 7031915"/>
                  <a:gd name="connsiteX38" fmla="*/ 0 w 8033654"/>
                  <a:gd name="connsiteY38" fmla="*/ 3515957 h 7031915"/>
                  <a:gd name="connsiteX39" fmla="*/ 11962 w 8033654"/>
                  <a:gd name="connsiteY39" fmla="*/ 3397306 h 7031915"/>
                  <a:gd name="connsiteX40" fmla="*/ 29470 w 8033654"/>
                  <a:gd name="connsiteY40" fmla="*/ 3340901 h 7031915"/>
                  <a:gd name="connsiteX41" fmla="*/ 115722 w 8033654"/>
                  <a:gd name="connsiteY41" fmla="*/ 3168396 h 7031915"/>
                  <a:gd name="connsiteX42" fmla="*/ 115723 w 8033654"/>
                  <a:gd name="connsiteY42" fmla="*/ 3168396 h 7031915"/>
                  <a:gd name="connsiteX43" fmla="*/ 1508796 w 8033654"/>
                  <a:gd name="connsiteY43" fmla="*/ 382255 h 7031915"/>
                  <a:gd name="connsiteX44" fmla="*/ 1570174 w 8033654"/>
                  <a:gd name="connsiteY44" fmla="*/ 259499 h 7031915"/>
                  <a:gd name="connsiteX45" fmla="*/ 1642008 w 8033654"/>
                  <a:gd name="connsiteY45" fmla="*/ 172435 h 7031915"/>
                  <a:gd name="connsiteX46" fmla="*/ 1939656 w 8033654"/>
                  <a:gd name="connsiteY46" fmla="*/ 11959 h 7031915"/>
                  <a:gd name="connsiteX47" fmla="*/ 2058287 w 8033654"/>
                  <a:gd name="connsiteY47"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176957 w 8033654"/>
                  <a:gd name="connsiteY25" fmla="*/ 7019956 h 7031915"/>
                  <a:gd name="connsiteX26" fmla="*/ 2058326 w 8033654"/>
                  <a:gd name="connsiteY26" fmla="*/ 7031915 h 7031915"/>
                  <a:gd name="connsiteX27" fmla="*/ 2058286 w 8033654"/>
                  <a:gd name="connsiteY27" fmla="*/ 7031915 h 7031915"/>
                  <a:gd name="connsiteX28" fmla="*/ 1939655 w 8033654"/>
                  <a:gd name="connsiteY28" fmla="*/ 7019956 h 7031915"/>
                  <a:gd name="connsiteX29" fmla="*/ 1642007 w 8033654"/>
                  <a:gd name="connsiteY29" fmla="*/ 6859480 h 7031915"/>
                  <a:gd name="connsiteX30" fmla="*/ 1570173 w 8033654"/>
                  <a:gd name="connsiteY30" fmla="*/ 6772417 h 7031915"/>
                  <a:gd name="connsiteX31" fmla="*/ 1508795 w 8033654"/>
                  <a:gd name="connsiteY31" fmla="*/ 6649661 h 7031915"/>
                  <a:gd name="connsiteX32" fmla="*/ 1508794 w 8033654"/>
                  <a:gd name="connsiteY32" fmla="*/ 6649657 h 7031915"/>
                  <a:gd name="connsiteX33" fmla="*/ 115723 w 8033654"/>
                  <a:gd name="connsiteY33" fmla="*/ 3863519 h 7031915"/>
                  <a:gd name="connsiteX34" fmla="*/ 115722 w 8033654"/>
                  <a:gd name="connsiteY34" fmla="*/ 3863518 h 7031915"/>
                  <a:gd name="connsiteX35" fmla="*/ 29470 w 8033654"/>
                  <a:gd name="connsiteY35" fmla="*/ 3691014 h 7031915"/>
                  <a:gd name="connsiteX36" fmla="*/ 11962 w 8033654"/>
                  <a:gd name="connsiteY36" fmla="*/ 3634608 h 7031915"/>
                  <a:gd name="connsiteX37" fmla="*/ 0 w 8033654"/>
                  <a:gd name="connsiteY37" fmla="*/ 3515957 h 7031915"/>
                  <a:gd name="connsiteX38" fmla="*/ 11962 w 8033654"/>
                  <a:gd name="connsiteY38" fmla="*/ 3397306 h 7031915"/>
                  <a:gd name="connsiteX39" fmla="*/ 29470 w 8033654"/>
                  <a:gd name="connsiteY39" fmla="*/ 3340901 h 7031915"/>
                  <a:gd name="connsiteX40" fmla="*/ 115722 w 8033654"/>
                  <a:gd name="connsiteY40" fmla="*/ 3168396 h 7031915"/>
                  <a:gd name="connsiteX41" fmla="*/ 115723 w 8033654"/>
                  <a:gd name="connsiteY41" fmla="*/ 3168396 h 7031915"/>
                  <a:gd name="connsiteX42" fmla="*/ 1508796 w 8033654"/>
                  <a:gd name="connsiteY42" fmla="*/ 382255 h 7031915"/>
                  <a:gd name="connsiteX43" fmla="*/ 1570174 w 8033654"/>
                  <a:gd name="connsiteY43" fmla="*/ 259499 h 7031915"/>
                  <a:gd name="connsiteX44" fmla="*/ 1642008 w 8033654"/>
                  <a:gd name="connsiteY44" fmla="*/ 172435 h 7031915"/>
                  <a:gd name="connsiteX45" fmla="*/ 1939656 w 8033654"/>
                  <a:gd name="connsiteY45" fmla="*/ 11959 h 7031915"/>
                  <a:gd name="connsiteX46" fmla="*/ 2058287 w 8033654"/>
                  <a:gd name="connsiteY46"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176958 w 8033654"/>
                  <a:gd name="connsiteY24" fmla="*/ 7019956 h 7031915"/>
                  <a:gd name="connsiteX25" fmla="*/ 2058326 w 8033654"/>
                  <a:gd name="connsiteY25" fmla="*/ 7031915 h 7031915"/>
                  <a:gd name="connsiteX26" fmla="*/ 2058286 w 8033654"/>
                  <a:gd name="connsiteY26" fmla="*/ 7031915 h 7031915"/>
                  <a:gd name="connsiteX27" fmla="*/ 1939655 w 8033654"/>
                  <a:gd name="connsiteY27" fmla="*/ 7019956 h 7031915"/>
                  <a:gd name="connsiteX28" fmla="*/ 1642007 w 8033654"/>
                  <a:gd name="connsiteY28" fmla="*/ 6859480 h 7031915"/>
                  <a:gd name="connsiteX29" fmla="*/ 1570173 w 8033654"/>
                  <a:gd name="connsiteY29" fmla="*/ 6772417 h 7031915"/>
                  <a:gd name="connsiteX30" fmla="*/ 1508795 w 8033654"/>
                  <a:gd name="connsiteY30" fmla="*/ 6649661 h 7031915"/>
                  <a:gd name="connsiteX31" fmla="*/ 1508794 w 8033654"/>
                  <a:gd name="connsiteY31" fmla="*/ 6649657 h 7031915"/>
                  <a:gd name="connsiteX32" fmla="*/ 115723 w 8033654"/>
                  <a:gd name="connsiteY32" fmla="*/ 3863519 h 7031915"/>
                  <a:gd name="connsiteX33" fmla="*/ 115722 w 8033654"/>
                  <a:gd name="connsiteY33" fmla="*/ 3863518 h 7031915"/>
                  <a:gd name="connsiteX34" fmla="*/ 29470 w 8033654"/>
                  <a:gd name="connsiteY34" fmla="*/ 3691014 h 7031915"/>
                  <a:gd name="connsiteX35" fmla="*/ 11962 w 8033654"/>
                  <a:gd name="connsiteY35" fmla="*/ 3634608 h 7031915"/>
                  <a:gd name="connsiteX36" fmla="*/ 0 w 8033654"/>
                  <a:gd name="connsiteY36" fmla="*/ 3515957 h 7031915"/>
                  <a:gd name="connsiteX37" fmla="*/ 11962 w 8033654"/>
                  <a:gd name="connsiteY37" fmla="*/ 3397306 h 7031915"/>
                  <a:gd name="connsiteX38" fmla="*/ 29470 w 8033654"/>
                  <a:gd name="connsiteY38" fmla="*/ 3340901 h 7031915"/>
                  <a:gd name="connsiteX39" fmla="*/ 115722 w 8033654"/>
                  <a:gd name="connsiteY39" fmla="*/ 3168396 h 7031915"/>
                  <a:gd name="connsiteX40" fmla="*/ 115723 w 8033654"/>
                  <a:gd name="connsiteY40" fmla="*/ 3168396 h 7031915"/>
                  <a:gd name="connsiteX41" fmla="*/ 1508796 w 8033654"/>
                  <a:gd name="connsiteY41" fmla="*/ 382255 h 7031915"/>
                  <a:gd name="connsiteX42" fmla="*/ 1570174 w 8033654"/>
                  <a:gd name="connsiteY42" fmla="*/ 259499 h 7031915"/>
                  <a:gd name="connsiteX43" fmla="*/ 1642008 w 8033654"/>
                  <a:gd name="connsiteY43" fmla="*/ 172435 h 7031915"/>
                  <a:gd name="connsiteX44" fmla="*/ 1939656 w 8033654"/>
                  <a:gd name="connsiteY44" fmla="*/ 11959 h 7031915"/>
                  <a:gd name="connsiteX45" fmla="*/ 2058287 w 8033654"/>
                  <a:gd name="connsiteY45"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524461 w 8033654"/>
                  <a:gd name="connsiteY18" fmla="*/ 6646190 h 7031915"/>
                  <a:gd name="connsiteX19" fmla="*/ 6482456 w 8033654"/>
                  <a:gd name="connsiteY19" fmla="*/ 6736229 h 7031915"/>
                  <a:gd name="connsiteX20" fmla="*/ 6090371 w 8033654"/>
                  <a:gd name="connsiteY20" fmla="*/ 7019956 h 7031915"/>
                  <a:gd name="connsiteX21" fmla="*/ 5971740 w 8033654"/>
                  <a:gd name="connsiteY21" fmla="*/ 7031915 h 7031915"/>
                  <a:gd name="connsiteX22" fmla="*/ 5971700 w 8033654"/>
                  <a:gd name="connsiteY22" fmla="*/ 7031915 h 7031915"/>
                  <a:gd name="connsiteX23" fmla="*/ 2058326 w 8033654"/>
                  <a:gd name="connsiteY23" fmla="*/ 7031915 h 7031915"/>
                  <a:gd name="connsiteX24" fmla="*/ 2058326 w 8033654"/>
                  <a:gd name="connsiteY24" fmla="*/ 7031915 h 7031915"/>
                  <a:gd name="connsiteX25" fmla="*/ 2058286 w 8033654"/>
                  <a:gd name="connsiteY25" fmla="*/ 7031915 h 7031915"/>
                  <a:gd name="connsiteX26" fmla="*/ 1939655 w 8033654"/>
                  <a:gd name="connsiteY26" fmla="*/ 7019956 h 7031915"/>
                  <a:gd name="connsiteX27" fmla="*/ 1642007 w 8033654"/>
                  <a:gd name="connsiteY27" fmla="*/ 6859480 h 7031915"/>
                  <a:gd name="connsiteX28" fmla="*/ 1570173 w 8033654"/>
                  <a:gd name="connsiteY28" fmla="*/ 6772417 h 7031915"/>
                  <a:gd name="connsiteX29" fmla="*/ 1508795 w 8033654"/>
                  <a:gd name="connsiteY29" fmla="*/ 6649661 h 7031915"/>
                  <a:gd name="connsiteX30" fmla="*/ 1508794 w 8033654"/>
                  <a:gd name="connsiteY30" fmla="*/ 6649657 h 7031915"/>
                  <a:gd name="connsiteX31" fmla="*/ 115723 w 8033654"/>
                  <a:gd name="connsiteY31" fmla="*/ 3863519 h 7031915"/>
                  <a:gd name="connsiteX32" fmla="*/ 115722 w 8033654"/>
                  <a:gd name="connsiteY32" fmla="*/ 3863518 h 7031915"/>
                  <a:gd name="connsiteX33" fmla="*/ 29470 w 8033654"/>
                  <a:gd name="connsiteY33" fmla="*/ 3691014 h 7031915"/>
                  <a:gd name="connsiteX34" fmla="*/ 11962 w 8033654"/>
                  <a:gd name="connsiteY34" fmla="*/ 3634608 h 7031915"/>
                  <a:gd name="connsiteX35" fmla="*/ 0 w 8033654"/>
                  <a:gd name="connsiteY35" fmla="*/ 3515957 h 7031915"/>
                  <a:gd name="connsiteX36" fmla="*/ 11962 w 8033654"/>
                  <a:gd name="connsiteY36" fmla="*/ 3397306 h 7031915"/>
                  <a:gd name="connsiteX37" fmla="*/ 29470 w 8033654"/>
                  <a:gd name="connsiteY37" fmla="*/ 3340901 h 7031915"/>
                  <a:gd name="connsiteX38" fmla="*/ 115722 w 8033654"/>
                  <a:gd name="connsiteY38" fmla="*/ 3168396 h 7031915"/>
                  <a:gd name="connsiteX39" fmla="*/ 115723 w 8033654"/>
                  <a:gd name="connsiteY39" fmla="*/ 3168396 h 7031915"/>
                  <a:gd name="connsiteX40" fmla="*/ 1508796 w 8033654"/>
                  <a:gd name="connsiteY40" fmla="*/ 382255 h 7031915"/>
                  <a:gd name="connsiteX41" fmla="*/ 1570174 w 8033654"/>
                  <a:gd name="connsiteY41" fmla="*/ 259499 h 7031915"/>
                  <a:gd name="connsiteX42" fmla="*/ 1642008 w 8033654"/>
                  <a:gd name="connsiteY42" fmla="*/ 172435 h 7031915"/>
                  <a:gd name="connsiteX43" fmla="*/ 1939656 w 8033654"/>
                  <a:gd name="connsiteY43" fmla="*/ 11959 h 7031915"/>
                  <a:gd name="connsiteX44" fmla="*/ 2058287 w 8033654"/>
                  <a:gd name="connsiteY44"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535055 w 8033654"/>
                  <a:gd name="connsiteY17" fmla="*/ 6638796 h 7031915"/>
                  <a:gd name="connsiteX18" fmla="*/ 6482456 w 8033654"/>
                  <a:gd name="connsiteY18" fmla="*/ 6736229 h 7031915"/>
                  <a:gd name="connsiteX19" fmla="*/ 6090371 w 8033654"/>
                  <a:gd name="connsiteY19" fmla="*/ 7019956 h 7031915"/>
                  <a:gd name="connsiteX20" fmla="*/ 5971740 w 8033654"/>
                  <a:gd name="connsiteY20" fmla="*/ 7031915 h 7031915"/>
                  <a:gd name="connsiteX21" fmla="*/ 5971700 w 8033654"/>
                  <a:gd name="connsiteY21" fmla="*/ 7031915 h 7031915"/>
                  <a:gd name="connsiteX22" fmla="*/ 2058326 w 8033654"/>
                  <a:gd name="connsiteY22" fmla="*/ 7031915 h 7031915"/>
                  <a:gd name="connsiteX23" fmla="*/ 2058326 w 8033654"/>
                  <a:gd name="connsiteY23" fmla="*/ 7031915 h 7031915"/>
                  <a:gd name="connsiteX24" fmla="*/ 2058286 w 8033654"/>
                  <a:gd name="connsiteY24" fmla="*/ 7031915 h 7031915"/>
                  <a:gd name="connsiteX25" fmla="*/ 1939655 w 8033654"/>
                  <a:gd name="connsiteY25" fmla="*/ 7019956 h 7031915"/>
                  <a:gd name="connsiteX26" fmla="*/ 1642007 w 8033654"/>
                  <a:gd name="connsiteY26" fmla="*/ 6859480 h 7031915"/>
                  <a:gd name="connsiteX27" fmla="*/ 1570173 w 8033654"/>
                  <a:gd name="connsiteY27" fmla="*/ 6772417 h 7031915"/>
                  <a:gd name="connsiteX28" fmla="*/ 1508795 w 8033654"/>
                  <a:gd name="connsiteY28" fmla="*/ 6649661 h 7031915"/>
                  <a:gd name="connsiteX29" fmla="*/ 1508794 w 8033654"/>
                  <a:gd name="connsiteY29" fmla="*/ 6649657 h 7031915"/>
                  <a:gd name="connsiteX30" fmla="*/ 115723 w 8033654"/>
                  <a:gd name="connsiteY30" fmla="*/ 3863519 h 7031915"/>
                  <a:gd name="connsiteX31" fmla="*/ 115722 w 8033654"/>
                  <a:gd name="connsiteY31" fmla="*/ 3863518 h 7031915"/>
                  <a:gd name="connsiteX32" fmla="*/ 29470 w 8033654"/>
                  <a:gd name="connsiteY32" fmla="*/ 3691014 h 7031915"/>
                  <a:gd name="connsiteX33" fmla="*/ 11962 w 8033654"/>
                  <a:gd name="connsiteY33" fmla="*/ 3634608 h 7031915"/>
                  <a:gd name="connsiteX34" fmla="*/ 0 w 8033654"/>
                  <a:gd name="connsiteY34" fmla="*/ 3515957 h 7031915"/>
                  <a:gd name="connsiteX35" fmla="*/ 11962 w 8033654"/>
                  <a:gd name="connsiteY35" fmla="*/ 3397306 h 7031915"/>
                  <a:gd name="connsiteX36" fmla="*/ 29470 w 8033654"/>
                  <a:gd name="connsiteY36" fmla="*/ 3340901 h 7031915"/>
                  <a:gd name="connsiteX37" fmla="*/ 115722 w 8033654"/>
                  <a:gd name="connsiteY37" fmla="*/ 3168396 h 7031915"/>
                  <a:gd name="connsiteX38" fmla="*/ 115723 w 8033654"/>
                  <a:gd name="connsiteY38" fmla="*/ 3168396 h 7031915"/>
                  <a:gd name="connsiteX39" fmla="*/ 1508796 w 8033654"/>
                  <a:gd name="connsiteY39" fmla="*/ 382255 h 7031915"/>
                  <a:gd name="connsiteX40" fmla="*/ 1570174 w 8033654"/>
                  <a:gd name="connsiteY40" fmla="*/ 259499 h 7031915"/>
                  <a:gd name="connsiteX41" fmla="*/ 1642008 w 8033654"/>
                  <a:gd name="connsiteY41" fmla="*/ 172435 h 7031915"/>
                  <a:gd name="connsiteX42" fmla="*/ 1939656 w 8033654"/>
                  <a:gd name="connsiteY42" fmla="*/ 11959 h 7031915"/>
                  <a:gd name="connsiteX43" fmla="*/ 2058287 w 8033654"/>
                  <a:gd name="connsiteY43"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6463356 w 8033654"/>
                  <a:gd name="connsiteY9" fmla="*/ 268125 h 7031915"/>
                  <a:gd name="connsiteX10" fmla="*/ 7949332 w 8033654"/>
                  <a:gd name="connsiteY10" fmla="*/ 3216682 h 7031915"/>
                  <a:gd name="connsiteX11" fmla="*/ 7992299 w 8033654"/>
                  <a:gd name="connsiteY11" fmla="*/ 3302616 h 7031915"/>
                  <a:gd name="connsiteX12" fmla="*/ 8021693 w 8033654"/>
                  <a:gd name="connsiteY12" fmla="*/ 3397306 h 7031915"/>
                  <a:gd name="connsiteX13" fmla="*/ 8033654 w 8033654"/>
                  <a:gd name="connsiteY13" fmla="*/ 3515957 h 7031915"/>
                  <a:gd name="connsiteX14" fmla="*/ 8021693 w 8033654"/>
                  <a:gd name="connsiteY14" fmla="*/ 3634608 h 7031915"/>
                  <a:gd name="connsiteX15" fmla="*/ 7992299 w 8033654"/>
                  <a:gd name="connsiteY15" fmla="*/ 3729298 h 7031915"/>
                  <a:gd name="connsiteX16" fmla="*/ 7949332 w 8033654"/>
                  <a:gd name="connsiteY16" fmla="*/ 3815232 h 7031915"/>
                  <a:gd name="connsiteX17" fmla="*/ 6482456 w 8033654"/>
                  <a:gd name="connsiteY17" fmla="*/ 6736229 h 7031915"/>
                  <a:gd name="connsiteX18" fmla="*/ 6090371 w 8033654"/>
                  <a:gd name="connsiteY18" fmla="*/ 7019956 h 7031915"/>
                  <a:gd name="connsiteX19" fmla="*/ 5971740 w 8033654"/>
                  <a:gd name="connsiteY19" fmla="*/ 7031915 h 7031915"/>
                  <a:gd name="connsiteX20" fmla="*/ 5971700 w 8033654"/>
                  <a:gd name="connsiteY20" fmla="*/ 7031915 h 7031915"/>
                  <a:gd name="connsiteX21" fmla="*/ 2058326 w 8033654"/>
                  <a:gd name="connsiteY21" fmla="*/ 7031915 h 7031915"/>
                  <a:gd name="connsiteX22" fmla="*/ 2058326 w 8033654"/>
                  <a:gd name="connsiteY22" fmla="*/ 7031915 h 7031915"/>
                  <a:gd name="connsiteX23" fmla="*/ 2058286 w 8033654"/>
                  <a:gd name="connsiteY23" fmla="*/ 7031915 h 7031915"/>
                  <a:gd name="connsiteX24" fmla="*/ 1939655 w 8033654"/>
                  <a:gd name="connsiteY24" fmla="*/ 7019956 h 7031915"/>
                  <a:gd name="connsiteX25" fmla="*/ 1642007 w 8033654"/>
                  <a:gd name="connsiteY25" fmla="*/ 6859480 h 7031915"/>
                  <a:gd name="connsiteX26" fmla="*/ 1570173 w 8033654"/>
                  <a:gd name="connsiteY26" fmla="*/ 6772417 h 7031915"/>
                  <a:gd name="connsiteX27" fmla="*/ 1508795 w 8033654"/>
                  <a:gd name="connsiteY27" fmla="*/ 6649661 h 7031915"/>
                  <a:gd name="connsiteX28" fmla="*/ 1508794 w 8033654"/>
                  <a:gd name="connsiteY28" fmla="*/ 6649657 h 7031915"/>
                  <a:gd name="connsiteX29" fmla="*/ 115723 w 8033654"/>
                  <a:gd name="connsiteY29" fmla="*/ 3863519 h 7031915"/>
                  <a:gd name="connsiteX30" fmla="*/ 115722 w 8033654"/>
                  <a:gd name="connsiteY30" fmla="*/ 3863518 h 7031915"/>
                  <a:gd name="connsiteX31" fmla="*/ 29470 w 8033654"/>
                  <a:gd name="connsiteY31" fmla="*/ 3691014 h 7031915"/>
                  <a:gd name="connsiteX32" fmla="*/ 11962 w 8033654"/>
                  <a:gd name="connsiteY32" fmla="*/ 3634608 h 7031915"/>
                  <a:gd name="connsiteX33" fmla="*/ 0 w 8033654"/>
                  <a:gd name="connsiteY33" fmla="*/ 3515957 h 7031915"/>
                  <a:gd name="connsiteX34" fmla="*/ 11962 w 8033654"/>
                  <a:gd name="connsiteY34" fmla="*/ 3397306 h 7031915"/>
                  <a:gd name="connsiteX35" fmla="*/ 29470 w 8033654"/>
                  <a:gd name="connsiteY35" fmla="*/ 3340901 h 7031915"/>
                  <a:gd name="connsiteX36" fmla="*/ 115722 w 8033654"/>
                  <a:gd name="connsiteY36" fmla="*/ 3168396 h 7031915"/>
                  <a:gd name="connsiteX37" fmla="*/ 115723 w 8033654"/>
                  <a:gd name="connsiteY37" fmla="*/ 3168396 h 7031915"/>
                  <a:gd name="connsiteX38" fmla="*/ 1508796 w 8033654"/>
                  <a:gd name="connsiteY38" fmla="*/ 382255 h 7031915"/>
                  <a:gd name="connsiteX39" fmla="*/ 1570174 w 8033654"/>
                  <a:gd name="connsiteY39" fmla="*/ 259499 h 7031915"/>
                  <a:gd name="connsiteX40" fmla="*/ 1642008 w 8033654"/>
                  <a:gd name="connsiteY40" fmla="*/ 172435 h 7031915"/>
                  <a:gd name="connsiteX41" fmla="*/ 1939656 w 8033654"/>
                  <a:gd name="connsiteY41" fmla="*/ 11959 h 7031915"/>
                  <a:gd name="connsiteX42" fmla="*/ 2058287 w 8033654"/>
                  <a:gd name="connsiteY42" fmla="*/ 0 h 7031915"/>
                  <a:gd name="connsiteX0" fmla="*/ 2058287 w 8033654"/>
                  <a:gd name="connsiteY0" fmla="*/ 0 h 7031915"/>
                  <a:gd name="connsiteX1" fmla="*/ 2058326 w 8033654"/>
                  <a:gd name="connsiteY1" fmla="*/ 0 h 7031915"/>
                  <a:gd name="connsiteX2" fmla="*/ 5971699 w 8033654"/>
                  <a:gd name="connsiteY2" fmla="*/ 0 h 7031915"/>
                  <a:gd name="connsiteX3" fmla="*/ 5971700 w 8033654"/>
                  <a:gd name="connsiteY3" fmla="*/ 0 h 7031915"/>
                  <a:gd name="connsiteX4" fmla="*/ 5971740 w 8033654"/>
                  <a:gd name="connsiteY4" fmla="*/ 0 h 7031915"/>
                  <a:gd name="connsiteX5" fmla="*/ 6090371 w 8033654"/>
                  <a:gd name="connsiteY5" fmla="*/ 11959 h 7031915"/>
                  <a:gd name="connsiteX6" fmla="*/ 6357004 w 8033654"/>
                  <a:gd name="connsiteY6" fmla="*/ 143562 h 7031915"/>
                  <a:gd name="connsiteX7" fmla="*/ 6421756 w 8033654"/>
                  <a:gd name="connsiteY7" fmla="*/ 209878 h 7031915"/>
                  <a:gd name="connsiteX8" fmla="*/ 6426018 w 8033654"/>
                  <a:gd name="connsiteY8" fmla="*/ 214243 h 7031915"/>
                  <a:gd name="connsiteX9" fmla="*/ 7949332 w 8033654"/>
                  <a:gd name="connsiteY9" fmla="*/ 3216682 h 7031915"/>
                  <a:gd name="connsiteX10" fmla="*/ 7992299 w 8033654"/>
                  <a:gd name="connsiteY10" fmla="*/ 3302616 h 7031915"/>
                  <a:gd name="connsiteX11" fmla="*/ 8021693 w 8033654"/>
                  <a:gd name="connsiteY11" fmla="*/ 3397306 h 7031915"/>
                  <a:gd name="connsiteX12" fmla="*/ 8033654 w 8033654"/>
                  <a:gd name="connsiteY12" fmla="*/ 3515957 h 7031915"/>
                  <a:gd name="connsiteX13" fmla="*/ 8021693 w 8033654"/>
                  <a:gd name="connsiteY13" fmla="*/ 3634608 h 7031915"/>
                  <a:gd name="connsiteX14" fmla="*/ 7992299 w 8033654"/>
                  <a:gd name="connsiteY14" fmla="*/ 3729298 h 7031915"/>
                  <a:gd name="connsiteX15" fmla="*/ 7949332 w 8033654"/>
                  <a:gd name="connsiteY15" fmla="*/ 3815232 h 7031915"/>
                  <a:gd name="connsiteX16" fmla="*/ 6482456 w 8033654"/>
                  <a:gd name="connsiteY16" fmla="*/ 6736229 h 7031915"/>
                  <a:gd name="connsiteX17" fmla="*/ 6090371 w 8033654"/>
                  <a:gd name="connsiteY17" fmla="*/ 7019956 h 7031915"/>
                  <a:gd name="connsiteX18" fmla="*/ 5971740 w 8033654"/>
                  <a:gd name="connsiteY18" fmla="*/ 7031915 h 7031915"/>
                  <a:gd name="connsiteX19" fmla="*/ 5971700 w 8033654"/>
                  <a:gd name="connsiteY19" fmla="*/ 7031915 h 7031915"/>
                  <a:gd name="connsiteX20" fmla="*/ 2058326 w 8033654"/>
                  <a:gd name="connsiteY20" fmla="*/ 7031915 h 7031915"/>
                  <a:gd name="connsiteX21" fmla="*/ 2058326 w 8033654"/>
                  <a:gd name="connsiteY21" fmla="*/ 7031915 h 7031915"/>
                  <a:gd name="connsiteX22" fmla="*/ 2058286 w 8033654"/>
                  <a:gd name="connsiteY22" fmla="*/ 7031915 h 7031915"/>
                  <a:gd name="connsiteX23" fmla="*/ 1939655 w 8033654"/>
                  <a:gd name="connsiteY23" fmla="*/ 7019956 h 7031915"/>
                  <a:gd name="connsiteX24" fmla="*/ 1642007 w 8033654"/>
                  <a:gd name="connsiteY24" fmla="*/ 6859480 h 7031915"/>
                  <a:gd name="connsiteX25" fmla="*/ 1570173 w 8033654"/>
                  <a:gd name="connsiteY25" fmla="*/ 6772417 h 7031915"/>
                  <a:gd name="connsiteX26" fmla="*/ 1508795 w 8033654"/>
                  <a:gd name="connsiteY26" fmla="*/ 6649661 h 7031915"/>
                  <a:gd name="connsiteX27" fmla="*/ 1508794 w 8033654"/>
                  <a:gd name="connsiteY27" fmla="*/ 6649657 h 7031915"/>
                  <a:gd name="connsiteX28" fmla="*/ 115723 w 8033654"/>
                  <a:gd name="connsiteY28" fmla="*/ 3863519 h 7031915"/>
                  <a:gd name="connsiteX29" fmla="*/ 115722 w 8033654"/>
                  <a:gd name="connsiteY29" fmla="*/ 3863518 h 7031915"/>
                  <a:gd name="connsiteX30" fmla="*/ 29470 w 8033654"/>
                  <a:gd name="connsiteY30" fmla="*/ 3691014 h 7031915"/>
                  <a:gd name="connsiteX31" fmla="*/ 11962 w 8033654"/>
                  <a:gd name="connsiteY31" fmla="*/ 3634608 h 7031915"/>
                  <a:gd name="connsiteX32" fmla="*/ 0 w 8033654"/>
                  <a:gd name="connsiteY32" fmla="*/ 3515957 h 7031915"/>
                  <a:gd name="connsiteX33" fmla="*/ 11962 w 8033654"/>
                  <a:gd name="connsiteY33" fmla="*/ 3397306 h 7031915"/>
                  <a:gd name="connsiteX34" fmla="*/ 29470 w 8033654"/>
                  <a:gd name="connsiteY34" fmla="*/ 3340901 h 7031915"/>
                  <a:gd name="connsiteX35" fmla="*/ 115722 w 8033654"/>
                  <a:gd name="connsiteY35" fmla="*/ 3168396 h 7031915"/>
                  <a:gd name="connsiteX36" fmla="*/ 115723 w 8033654"/>
                  <a:gd name="connsiteY36" fmla="*/ 3168396 h 7031915"/>
                  <a:gd name="connsiteX37" fmla="*/ 1508796 w 8033654"/>
                  <a:gd name="connsiteY37" fmla="*/ 382255 h 7031915"/>
                  <a:gd name="connsiteX38" fmla="*/ 1570174 w 8033654"/>
                  <a:gd name="connsiteY38" fmla="*/ 259499 h 7031915"/>
                  <a:gd name="connsiteX39" fmla="*/ 1642008 w 8033654"/>
                  <a:gd name="connsiteY39" fmla="*/ 172435 h 7031915"/>
                  <a:gd name="connsiteX40" fmla="*/ 1939656 w 8033654"/>
                  <a:gd name="connsiteY40" fmla="*/ 11959 h 7031915"/>
                  <a:gd name="connsiteX41" fmla="*/ 2058287 w 8033654"/>
                  <a:gd name="connsiteY41" fmla="*/ 0 h 703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033654" h="7031915">
                    <a:moveTo>
                      <a:pt x="2058287" y="0"/>
                    </a:moveTo>
                    <a:lnTo>
                      <a:pt x="2058326" y="0"/>
                    </a:lnTo>
                    <a:lnTo>
                      <a:pt x="5971699" y="0"/>
                    </a:lnTo>
                    <a:lnTo>
                      <a:pt x="5971700" y="0"/>
                    </a:lnTo>
                    <a:lnTo>
                      <a:pt x="5971740" y="0"/>
                    </a:lnTo>
                    <a:lnTo>
                      <a:pt x="6090371" y="11959"/>
                    </a:lnTo>
                    <a:cubicBezTo>
                      <a:pt x="6190975" y="32545"/>
                      <a:pt x="6282232" y="78792"/>
                      <a:pt x="6357004" y="143562"/>
                    </a:cubicBezTo>
                    <a:lnTo>
                      <a:pt x="6421756" y="209878"/>
                    </a:lnTo>
                    <a:lnTo>
                      <a:pt x="6426018" y="214243"/>
                    </a:lnTo>
                    <a:lnTo>
                      <a:pt x="7949332" y="3216682"/>
                    </a:lnTo>
                    <a:lnTo>
                      <a:pt x="7992299" y="3302616"/>
                    </a:lnTo>
                    <a:lnTo>
                      <a:pt x="8021693" y="3397306"/>
                    </a:lnTo>
                    <a:cubicBezTo>
                      <a:pt x="8029535" y="3435632"/>
                      <a:pt x="8033654" y="3475313"/>
                      <a:pt x="8033654" y="3515957"/>
                    </a:cubicBezTo>
                    <a:cubicBezTo>
                      <a:pt x="8033654" y="3556601"/>
                      <a:pt x="8029535" y="3596283"/>
                      <a:pt x="8021693" y="3634608"/>
                    </a:cubicBezTo>
                    <a:lnTo>
                      <a:pt x="7992299" y="3729298"/>
                    </a:lnTo>
                    <a:lnTo>
                      <a:pt x="7949332" y="3815232"/>
                    </a:lnTo>
                    <a:lnTo>
                      <a:pt x="6482456" y="6736229"/>
                    </a:lnTo>
                    <a:cubicBezTo>
                      <a:pt x="6399753" y="6880056"/>
                      <a:pt x="6258044" y="6985646"/>
                      <a:pt x="6090371" y="7019956"/>
                    </a:cubicBezTo>
                    <a:lnTo>
                      <a:pt x="5971740" y="7031915"/>
                    </a:lnTo>
                    <a:lnTo>
                      <a:pt x="5971700" y="7031915"/>
                    </a:lnTo>
                    <a:lnTo>
                      <a:pt x="2058326" y="7031915"/>
                    </a:lnTo>
                    <a:lnTo>
                      <a:pt x="2058326" y="7031915"/>
                    </a:lnTo>
                    <a:lnTo>
                      <a:pt x="2058286" y="7031915"/>
                    </a:lnTo>
                    <a:lnTo>
                      <a:pt x="1939655" y="7019956"/>
                    </a:lnTo>
                    <a:cubicBezTo>
                      <a:pt x="1824680" y="6996429"/>
                      <a:pt x="1721912" y="6939386"/>
                      <a:pt x="1642007" y="6859480"/>
                    </a:cubicBezTo>
                    <a:lnTo>
                      <a:pt x="1570173" y="6772417"/>
                    </a:lnTo>
                    <a:lnTo>
                      <a:pt x="1508795" y="6649661"/>
                    </a:lnTo>
                    <a:cubicBezTo>
                      <a:pt x="1508795" y="6649660"/>
                      <a:pt x="1508794" y="6649658"/>
                      <a:pt x="1508794" y="6649657"/>
                    </a:cubicBezTo>
                    <a:lnTo>
                      <a:pt x="115723" y="3863519"/>
                    </a:lnTo>
                    <a:lnTo>
                      <a:pt x="115722" y="3863518"/>
                    </a:lnTo>
                    <a:lnTo>
                      <a:pt x="29470" y="3691014"/>
                    </a:lnTo>
                    <a:lnTo>
                      <a:pt x="11962" y="3634608"/>
                    </a:lnTo>
                    <a:cubicBezTo>
                      <a:pt x="4119" y="3596283"/>
                      <a:pt x="0" y="3556601"/>
                      <a:pt x="0" y="3515957"/>
                    </a:cubicBezTo>
                    <a:cubicBezTo>
                      <a:pt x="0" y="3475313"/>
                      <a:pt x="4119" y="3435632"/>
                      <a:pt x="11962" y="3397306"/>
                    </a:cubicBezTo>
                    <a:lnTo>
                      <a:pt x="29470" y="3340901"/>
                    </a:lnTo>
                    <a:lnTo>
                      <a:pt x="115722" y="3168396"/>
                    </a:lnTo>
                    <a:lnTo>
                      <a:pt x="115723" y="3168396"/>
                    </a:lnTo>
                    <a:lnTo>
                      <a:pt x="1508796" y="382255"/>
                    </a:lnTo>
                    <a:lnTo>
                      <a:pt x="1570174" y="259499"/>
                    </a:lnTo>
                    <a:lnTo>
                      <a:pt x="1642008" y="172435"/>
                    </a:lnTo>
                    <a:cubicBezTo>
                      <a:pt x="1721913" y="92530"/>
                      <a:pt x="1824680" y="35486"/>
                      <a:pt x="1939656" y="11959"/>
                    </a:cubicBezTo>
                    <a:lnTo>
                      <a:pt x="2058287" y="0"/>
                    </a:lnTo>
                    <a:close/>
                  </a:path>
                </a:pathLst>
              </a:custGeom>
              <a:noFill/>
              <a:ln w="381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1" name="îslíḓé">
                <a:extLst>
                  <a:ext uri="{FF2B5EF4-FFF2-40B4-BE49-F238E27FC236}">
                    <a16:creationId xmlns:a16="http://schemas.microsoft.com/office/drawing/2014/main" id="{181EE3D1-72C9-4840-9597-B759D0792FB2}"/>
                  </a:ext>
                </a:extLst>
              </p:cNvPr>
              <p:cNvSpPr/>
              <p:nvPr/>
            </p:nvSpPr>
            <p:spPr>
              <a:xfrm>
                <a:off x="2091159" y="4863040"/>
                <a:ext cx="839718" cy="304938"/>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400" dirty="0">
                    <a:solidFill>
                      <a:schemeClr val="bg1"/>
                    </a:solidFill>
                  </a:rPr>
                  <a:t>04</a:t>
                </a:r>
                <a:endParaRPr lang="zh-CN" altLang="en-US" sz="1400" dirty="0">
                  <a:solidFill>
                    <a:schemeClr val="bg1"/>
                  </a:solidFill>
                </a:endParaRPr>
              </a:p>
            </p:txBody>
          </p:sp>
          <p:sp>
            <p:nvSpPr>
              <p:cNvPr id="12" name="íšḻíḑè">
                <a:extLst>
                  <a:ext uri="{FF2B5EF4-FFF2-40B4-BE49-F238E27FC236}">
                    <a16:creationId xmlns:a16="http://schemas.microsoft.com/office/drawing/2014/main" id="{484E9740-7FFD-484F-9596-E6D1D24D4808}"/>
                  </a:ext>
                </a:extLst>
              </p:cNvPr>
              <p:cNvSpPr/>
              <p:nvPr/>
            </p:nvSpPr>
            <p:spPr bwMode="auto">
              <a:xfrm>
                <a:off x="2306266" y="2389675"/>
                <a:ext cx="409502" cy="435610"/>
              </a:xfrm>
              <a:custGeom>
                <a:avLst/>
                <a:gdLst>
                  <a:gd name="connsiteX0" fmla="*/ 283988 w 567904"/>
                  <a:gd name="connsiteY0" fmla="*/ 165481 h 604115"/>
                  <a:gd name="connsiteX1" fmla="*/ 299163 w 567904"/>
                  <a:gd name="connsiteY1" fmla="*/ 180516 h 604115"/>
                  <a:gd name="connsiteX2" fmla="*/ 299163 w 567904"/>
                  <a:gd name="connsiteY2" fmla="*/ 272309 h 604115"/>
                  <a:gd name="connsiteX3" fmla="*/ 307657 w 567904"/>
                  <a:gd name="connsiteY3" fmla="*/ 280788 h 604115"/>
                  <a:gd name="connsiteX4" fmla="*/ 366094 w 567904"/>
                  <a:gd name="connsiteY4" fmla="*/ 280788 h 604115"/>
                  <a:gd name="connsiteX5" fmla="*/ 381156 w 567904"/>
                  <a:gd name="connsiteY5" fmla="*/ 295936 h 604115"/>
                  <a:gd name="connsiteX6" fmla="*/ 366094 w 567904"/>
                  <a:gd name="connsiteY6" fmla="*/ 310971 h 604115"/>
                  <a:gd name="connsiteX7" fmla="*/ 307657 w 567904"/>
                  <a:gd name="connsiteY7" fmla="*/ 310971 h 604115"/>
                  <a:gd name="connsiteX8" fmla="*/ 283988 w 567904"/>
                  <a:gd name="connsiteY8" fmla="*/ 323971 h 604115"/>
                  <a:gd name="connsiteX9" fmla="*/ 255902 w 567904"/>
                  <a:gd name="connsiteY9" fmla="*/ 295936 h 604115"/>
                  <a:gd name="connsiteX10" fmla="*/ 268926 w 567904"/>
                  <a:gd name="connsiteY10" fmla="*/ 272309 h 604115"/>
                  <a:gd name="connsiteX11" fmla="*/ 268926 w 567904"/>
                  <a:gd name="connsiteY11" fmla="*/ 180516 h 604115"/>
                  <a:gd name="connsiteX12" fmla="*/ 283988 w 567904"/>
                  <a:gd name="connsiteY12" fmla="*/ 165481 h 604115"/>
                  <a:gd name="connsiteX13" fmla="*/ 268839 w 567904"/>
                  <a:gd name="connsiteY13" fmla="*/ 63180 h 604115"/>
                  <a:gd name="connsiteX14" fmla="*/ 131858 w 567904"/>
                  <a:gd name="connsiteY14" fmla="*/ 122631 h 604115"/>
                  <a:gd name="connsiteX15" fmla="*/ 178160 w 567904"/>
                  <a:gd name="connsiteY15" fmla="*/ 168971 h 604115"/>
                  <a:gd name="connsiteX16" fmla="*/ 178160 w 567904"/>
                  <a:gd name="connsiteY16" fmla="*/ 190220 h 604115"/>
                  <a:gd name="connsiteX17" fmla="*/ 167518 w 567904"/>
                  <a:gd name="connsiteY17" fmla="*/ 194628 h 604115"/>
                  <a:gd name="connsiteX18" fmla="*/ 156877 w 567904"/>
                  <a:gd name="connsiteY18" fmla="*/ 190220 h 604115"/>
                  <a:gd name="connsiteX19" fmla="*/ 111254 w 567904"/>
                  <a:gd name="connsiteY19" fmla="*/ 144671 h 604115"/>
                  <a:gd name="connsiteX20" fmla="*/ 61216 w 567904"/>
                  <a:gd name="connsiteY20" fmla="*/ 280752 h 604115"/>
                  <a:gd name="connsiteX21" fmla="*/ 119292 w 567904"/>
                  <a:gd name="connsiteY21" fmla="*/ 280752 h 604115"/>
                  <a:gd name="connsiteX22" fmla="*/ 134348 w 567904"/>
                  <a:gd name="connsiteY22" fmla="*/ 295898 h 604115"/>
                  <a:gd name="connsiteX23" fmla="*/ 119292 w 567904"/>
                  <a:gd name="connsiteY23" fmla="*/ 310930 h 604115"/>
                  <a:gd name="connsiteX24" fmla="*/ 62688 w 567904"/>
                  <a:gd name="connsiteY24" fmla="*/ 310930 h 604115"/>
                  <a:gd name="connsiteX25" fmla="*/ 121330 w 567904"/>
                  <a:gd name="connsiteY25" fmla="*/ 436952 h 604115"/>
                  <a:gd name="connsiteX26" fmla="*/ 156877 w 567904"/>
                  <a:gd name="connsiteY26" fmla="*/ 401462 h 604115"/>
                  <a:gd name="connsiteX27" fmla="*/ 178160 w 567904"/>
                  <a:gd name="connsiteY27" fmla="*/ 401462 h 604115"/>
                  <a:gd name="connsiteX28" fmla="*/ 178160 w 567904"/>
                  <a:gd name="connsiteY28" fmla="*/ 422824 h 604115"/>
                  <a:gd name="connsiteX29" fmla="*/ 143405 w 567904"/>
                  <a:gd name="connsiteY29" fmla="*/ 457523 h 604115"/>
                  <a:gd name="connsiteX30" fmla="*/ 268839 w 567904"/>
                  <a:gd name="connsiteY30" fmla="*/ 507027 h 604115"/>
                  <a:gd name="connsiteX31" fmla="*/ 268839 w 567904"/>
                  <a:gd name="connsiteY31" fmla="*/ 460235 h 604115"/>
                  <a:gd name="connsiteX32" fmla="*/ 284009 w 567904"/>
                  <a:gd name="connsiteY32" fmla="*/ 445203 h 604115"/>
                  <a:gd name="connsiteX33" fmla="*/ 299065 w 567904"/>
                  <a:gd name="connsiteY33" fmla="*/ 460235 h 604115"/>
                  <a:gd name="connsiteX34" fmla="*/ 299065 w 567904"/>
                  <a:gd name="connsiteY34" fmla="*/ 507027 h 604115"/>
                  <a:gd name="connsiteX35" fmla="*/ 424612 w 567904"/>
                  <a:gd name="connsiteY35" fmla="*/ 457523 h 604115"/>
                  <a:gd name="connsiteX36" fmla="*/ 389744 w 567904"/>
                  <a:gd name="connsiteY36" fmla="*/ 422824 h 604115"/>
                  <a:gd name="connsiteX37" fmla="*/ 389744 w 567904"/>
                  <a:gd name="connsiteY37" fmla="*/ 401462 h 604115"/>
                  <a:gd name="connsiteX38" fmla="*/ 411141 w 567904"/>
                  <a:gd name="connsiteY38" fmla="*/ 401462 h 604115"/>
                  <a:gd name="connsiteX39" fmla="*/ 446688 w 567904"/>
                  <a:gd name="connsiteY39" fmla="*/ 436952 h 604115"/>
                  <a:gd name="connsiteX40" fmla="*/ 505329 w 567904"/>
                  <a:gd name="connsiteY40" fmla="*/ 310930 h 604115"/>
                  <a:gd name="connsiteX41" fmla="*/ 448612 w 567904"/>
                  <a:gd name="connsiteY41" fmla="*/ 310930 h 604115"/>
                  <a:gd name="connsiteX42" fmla="*/ 433556 w 567904"/>
                  <a:gd name="connsiteY42" fmla="*/ 295898 h 604115"/>
                  <a:gd name="connsiteX43" fmla="*/ 448612 w 567904"/>
                  <a:gd name="connsiteY43" fmla="*/ 280752 h 604115"/>
                  <a:gd name="connsiteX44" fmla="*/ 506801 w 567904"/>
                  <a:gd name="connsiteY44" fmla="*/ 280752 h 604115"/>
                  <a:gd name="connsiteX45" fmla="*/ 456650 w 567904"/>
                  <a:gd name="connsiteY45" fmla="*/ 144671 h 604115"/>
                  <a:gd name="connsiteX46" fmla="*/ 411141 w 567904"/>
                  <a:gd name="connsiteY46" fmla="*/ 190220 h 604115"/>
                  <a:gd name="connsiteX47" fmla="*/ 400386 w 567904"/>
                  <a:gd name="connsiteY47" fmla="*/ 194628 h 604115"/>
                  <a:gd name="connsiteX48" fmla="*/ 389744 w 567904"/>
                  <a:gd name="connsiteY48" fmla="*/ 190220 h 604115"/>
                  <a:gd name="connsiteX49" fmla="*/ 389744 w 567904"/>
                  <a:gd name="connsiteY49" fmla="*/ 168971 h 604115"/>
                  <a:gd name="connsiteX50" fmla="*/ 436046 w 567904"/>
                  <a:gd name="connsiteY50" fmla="*/ 122631 h 604115"/>
                  <a:gd name="connsiteX51" fmla="*/ 299065 w 567904"/>
                  <a:gd name="connsiteY51" fmla="*/ 63180 h 604115"/>
                  <a:gd name="connsiteX52" fmla="*/ 299065 w 567904"/>
                  <a:gd name="connsiteY52" fmla="*/ 131447 h 604115"/>
                  <a:gd name="connsiteX53" fmla="*/ 284009 w 567904"/>
                  <a:gd name="connsiteY53" fmla="*/ 146479 h 604115"/>
                  <a:gd name="connsiteX54" fmla="*/ 268839 w 567904"/>
                  <a:gd name="connsiteY54" fmla="*/ 131447 h 604115"/>
                  <a:gd name="connsiteX55" fmla="*/ 90594 w 567904"/>
                  <a:gd name="connsiteY55" fmla="*/ 0 h 604115"/>
                  <a:gd name="connsiteX56" fmla="*/ 154613 w 567904"/>
                  <a:gd name="connsiteY56" fmla="*/ 26448 h 604115"/>
                  <a:gd name="connsiteX57" fmla="*/ 125179 w 567904"/>
                  <a:gd name="connsiteY57" fmla="*/ 55947 h 604115"/>
                  <a:gd name="connsiteX58" fmla="*/ 284009 w 567904"/>
                  <a:gd name="connsiteY58" fmla="*/ 6329 h 604115"/>
                  <a:gd name="connsiteX59" fmla="*/ 442839 w 567904"/>
                  <a:gd name="connsiteY59" fmla="*/ 55947 h 604115"/>
                  <a:gd name="connsiteX60" fmla="*/ 413291 w 567904"/>
                  <a:gd name="connsiteY60" fmla="*/ 26448 h 604115"/>
                  <a:gd name="connsiteX61" fmla="*/ 541329 w 567904"/>
                  <a:gd name="connsiteY61" fmla="*/ 26448 h 604115"/>
                  <a:gd name="connsiteX62" fmla="*/ 541329 w 567904"/>
                  <a:gd name="connsiteY62" fmla="*/ 154391 h 604115"/>
                  <a:gd name="connsiteX63" fmla="*/ 513480 w 567904"/>
                  <a:gd name="connsiteY63" fmla="*/ 126474 h 604115"/>
                  <a:gd name="connsiteX64" fmla="*/ 563178 w 567904"/>
                  <a:gd name="connsiteY64" fmla="*/ 285160 h 604115"/>
                  <a:gd name="connsiteX65" fmla="*/ 441593 w 567904"/>
                  <a:gd name="connsiteY65" fmla="*/ 515052 h 604115"/>
                  <a:gd name="connsiteX66" fmla="*/ 492197 w 567904"/>
                  <a:gd name="connsiteY66" fmla="*/ 565574 h 604115"/>
                  <a:gd name="connsiteX67" fmla="*/ 492197 w 567904"/>
                  <a:gd name="connsiteY67" fmla="*/ 597560 h 604115"/>
                  <a:gd name="connsiteX68" fmla="*/ 476235 w 567904"/>
                  <a:gd name="connsiteY68" fmla="*/ 604115 h 604115"/>
                  <a:gd name="connsiteX69" fmla="*/ 460159 w 567904"/>
                  <a:gd name="connsiteY69" fmla="*/ 597560 h 604115"/>
                  <a:gd name="connsiteX70" fmla="*/ 400839 w 567904"/>
                  <a:gd name="connsiteY70" fmla="*/ 538222 h 604115"/>
                  <a:gd name="connsiteX71" fmla="*/ 284009 w 567904"/>
                  <a:gd name="connsiteY71" fmla="*/ 563878 h 604115"/>
                  <a:gd name="connsiteX72" fmla="*/ 167065 w 567904"/>
                  <a:gd name="connsiteY72" fmla="*/ 538222 h 604115"/>
                  <a:gd name="connsiteX73" fmla="*/ 107745 w 567904"/>
                  <a:gd name="connsiteY73" fmla="*/ 597560 h 604115"/>
                  <a:gd name="connsiteX74" fmla="*/ 91782 w 567904"/>
                  <a:gd name="connsiteY74" fmla="*/ 604115 h 604115"/>
                  <a:gd name="connsiteX75" fmla="*/ 75707 w 567904"/>
                  <a:gd name="connsiteY75" fmla="*/ 597560 h 604115"/>
                  <a:gd name="connsiteX76" fmla="*/ 75707 w 567904"/>
                  <a:gd name="connsiteY76" fmla="*/ 565574 h 604115"/>
                  <a:gd name="connsiteX77" fmla="*/ 126311 w 567904"/>
                  <a:gd name="connsiteY77" fmla="*/ 515052 h 604115"/>
                  <a:gd name="connsiteX78" fmla="*/ 4726 w 567904"/>
                  <a:gd name="connsiteY78" fmla="*/ 285160 h 604115"/>
                  <a:gd name="connsiteX79" fmla="*/ 54424 w 567904"/>
                  <a:gd name="connsiteY79" fmla="*/ 126474 h 604115"/>
                  <a:gd name="connsiteX80" fmla="*/ 26575 w 567904"/>
                  <a:gd name="connsiteY80" fmla="*/ 154391 h 604115"/>
                  <a:gd name="connsiteX81" fmla="*/ 26575 w 567904"/>
                  <a:gd name="connsiteY81" fmla="*/ 26448 h 604115"/>
                  <a:gd name="connsiteX82" fmla="*/ 90594 w 567904"/>
                  <a:gd name="connsiteY82" fmla="*/ 0 h 6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67904" h="604115">
                    <a:moveTo>
                      <a:pt x="283988" y="165481"/>
                    </a:moveTo>
                    <a:cubicBezTo>
                      <a:pt x="292368" y="165481"/>
                      <a:pt x="299163" y="172264"/>
                      <a:pt x="299163" y="180516"/>
                    </a:cubicBezTo>
                    <a:lnTo>
                      <a:pt x="299163" y="272309"/>
                    </a:lnTo>
                    <a:cubicBezTo>
                      <a:pt x="302561" y="274457"/>
                      <a:pt x="305505" y="277396"/>
                      <a:pt x="307657" y="280788"/>
                    </a:cubicBezTo>
                    <a:lnTo>
                      <a:pt x="366094" y="280788"/>
                    </a:lnTo>
                    <a:cubicBezTo>
                      <a:pt x="374474" y="280788"/>
                      <a:pt x="381156" y="287570"/>
                      <a:pt x="381156" y="295936"/>
                    </a:cubicBezTo>
                    <a:cubicBezTo>
                      <a:pt x="381156" y="304188"/>
                      <a:pt x="374474" y="310971"/>
                      <a:pt x="366094" y="310971"/>
                    </a:cubicBezTo>
                    <a:lnTo>
                      <a:pt x="307657" y="310971"/>
                    </a:lnTo>
                    <a:cubicBezTo>
                      <a:pt x="302674" y="318771"/>
                      <a:pt x="293954" y="323971"/>
                      <a:pt x="283988" y="323971"/>
                    </a:cubicBezTo>
                    <a:cubicBezTo>
                      <a:pt x="268586" y="323971"/>
                      <a:pt x="255902" y="311310"/>
                      <a:pt x="255902" y="295936"/>
                    </a:cubicBezTo>
                    <a:cubicBezTo>
                      <a:pt x="255902" y="285988"/>
                      <a:pt x="261111" y="277283"/>
                      <a:pt x="268926" y="272309"/>
                    </a:cubicBezTo>
                    <a:lnTo>
                      <a:pt x="268926" y="180516"/>
                    </a:lnTo>
                    <a:cubicBezTo>
                      <a:pt x="268926" y="172264"/>
                      <a:pt x="275721" y="165481"/>
                      <a:pt x="283988" y="165481"/>
                    </a:cubicBezTo>
                    <a:close/>
                    <a:moveTo>
                      <a:pt x="268839" y="63180"/>
                    </a:moveTo>
                    <a:cubicBezTo>
                      <a:pt x="216084" y="66684"/>
                      <a:pt x="168311" y="88724"/>
                      <a:pt x="131858" y="122631"/>
                    </a:cubicBezTo>
                    <a:lnTo>
                      <a:pt x="178160" y="168971"/>
                    </a:lnTo>
                    <a:cubicBezTo>
                      <a:pt x="184046" y="174849"/>
                      <a:pt x="184046" y="184343"/>
                      <a:pt x="178160" y="190220"/>
                    </a:cubicBezTo>
                    <a:cubicBezTo>
                      <a:pt x="175216" y="193159"/>
                      <a:pt x="171367" y="194628"/>
                      <a:pt x="167518" y="194628"/>
                    </a:cubicBezTo>
                    <a:cubicBezTo>
                      <a:pt x="163669" y="194628"/>
                      <a:pt x="159820" y="193159"/>
                      <a:pt x="156877" y="190220"/>
                    </a:cubicBezTo>
                    <a:lnTo>
                      <a:pt x="111254" y="144671"/>
                    </a:lnTo>
                    <a:cubicBezTo>
                      <a:pt x="80801" y="181969"/>
                      <a:pt x="62235" y="229213"/>
                      <a:pt x="61216" y="280752"/>
                    </a:cubicBezTo>
                    <a:lnTo>
                      <a:pt x="119292" y="280752"/>
                    </a:lnTo>
                    <a:cubicBezTo>
                      <a:pt x="127669" y="280752"/>
                      <a:pt x="134348" y="287534"/>
                      <a:pt x="134348" y="295898"/>
                    </a:cubicBezTo>
                    <a:cubicBezTo>
                      <a:pt x="134348" y="304148"/>
                      <a:pt x="127669" y="310930"/>
                      <a:pt x="119292" y="310930"/>
                    </a:cubicBezTo>
                    <a:lnTo>
                      <a:pt x="62688" y="310930"/>
                    </a:lnTo>
                    <a:cubicBezTo>
                      <a:pt x="68235" y="359304"/>
                      <a:pt x="89518" y="403045"/>
                      <a:pt x="121330" y="436952"/>
                    </a:cubicBezTo>
                    <a:lnTo>
                      <a:pt x="156877" y="401462"/>
                    </a:lnTo>
                    <a:cubicBezTo>
                      <a:pt x="162763" y="395585"/>
                      <a:pt x="172273" y="395585"/>
                      <a:pt x="178160" y="401462"/>
                    </a:cubicBezTo>
                    <a:cubicBezTo>
                      <a:pt x="184046" y="407340"/>
                      <a:pt x="184046" y="416834"/>
                      <a:pt x="178160" y="422824"/>
                    </a:cubicBezTo>
                    <a:lnTo>
                      <a:pt x="143405" y="457523"/>
                    </a:lnTo>
                    <a:cubicBezTo>
                      <a:pt x="178046" y="485779"/>
                      <a:pt x="221518" y="503862"/>
                      <a:pt x="268839" y="507027"/>
                    </a:cubicBezTo>
                    <a:lnTo>
                      <a:pt x="268839" y="460235"/>
                    </a:lnTo>
                    <a:cubicBezTo>
                      <a:pt x="268839" y="451984"/>
                      <a:pt x="275631" y="445203"/>
                      <a:pt x="284009" y="445203"/>
                    </a:cubicBezTo>
                    <a:cubicBezTo>
                      <a:pt x="292273" y="445203"/>
                      <a:pt x="299065" y="451984"/>
                      <a:pt x="299065" y="460235"/>
                    </a:cubicBezTo>
                    <a:lnTo>
                      <a:pt x="299065" y="507027"/>
                    </a:lnTo>
                    <a:cubicBezTo>
                      <a:pt x="346499" y="503862"/>
                      <a:pt x="389858" y="485779"/>
                      <a:pt x="424612" y="457523"/>
                    </a:cubicBezTo>
                    <a:lnTo>
                      <a:pt x="389744" y="422824"/>
                    </a:lnTo>
                    <a:cubicBezTo>
                      <a:pt x="383858" y="416834"/>
                      <a:pt x="383858" y="407340"/>
                      <a:pt x="389744" y="401462"/>
                    </a:cubicBezTo>
                    <a:cubicBezTo>
                      <a:pt x="395631" y="395585"/>
                      <a:pt x="405254" y="395585"/>
                      <a:pt x="411141" y="401462"/>
                    </a:cubicBezTo>
                    <a:lnTo>
                      <a:pt x="446688" y="436952"/>
                    </a:lnTo>
                    <a:cubicBezTo>
                      <a:pt x="478386" y="403045"/>
                      <a:pt x="499669" y="359304"/>
                      <a:pt x="505329" y="310930"/>
                    </a:cubicBezTo>
                    <a:lnTo>
                      <a:pt x="448612" y="310930"/>
                    </a:lnTo>
                    <a:cubicBezTo>
                      <a:pt x="440348" y="310930"/>
                      <a:pt x="433556" y="304148"/>
                      <a:pt x="433556" y="295898"/>
                    </a:cubicBezTo>
                    <a:cubicBezTo>
                      <a:pt x="433556" y="287534"/>
                      <a:pt x="440348" y="280752"/>
                      <a:pt x="448612" y="280752"/>
                    </a:cubicBezTo>
                    <a:lnTo>
                      <a:pt x="506801" y="280752"/>
                    </a:lnTo>
                    <a:cubicBezTo>
                      <a:pt x="505782" y="229213"/>
                      <a:pt x="487103" y="181969"/>
                      <a:pt x="456650" y="144671"/>
                    </a:cubicBezTo>
                    <a:lnTo>
                      <a:pt x="411141" y="190220"/>
                    </a:lnTo>
                    <a:cubicBezTo>
                      <a:pt x="408197" y="193159"/>
                      <a:pt x="404235" y="194628"/>
                      <a:pt x="400386" y="194628"/>
                    </a:cubicBezTo>
                    <a:cubicBezTo>
                      <a:pt x="396537" y="194628"/>
                      <a:pt x="392688" y="193159"/>
                      <a:pt x="389744" y="190220"/>
                    </a:cubicBezTo>
                    <a:cubicBezTo>
                      <a:pt x="383858" y="184343"/>
                      <a:pt x="383858" y="174849"/>
                      <a:pt x="389744" y="168971"/>
                    </a:cubicBezTo>
                    <a:lnTo>
                      <a:pt x="436046" y="122631"/>
                    </a:lnTo>
                    <a:cubicBezTo>
                      <a:pt x="399707" y="88724"/>
                      <a:pt x="351820" y="66684"/>
                      <a:pt x="299065" y="63180"/>
                    </a:cubicBezTo>
                    <a:lnTo>
                      <a:pt x="299065" y="131447"/>
                    </a:lnTo>
                    <a:cubicBezTo>
                      <a:pt x="299065" y="139698"/>
                      <a:pt x="292273" y="146479"/>
                      <a:pt x="284009" y="146479"/>
                    </a:cubicBezTo>
                    <a:cubicBezTo>
                      <a:pt x="275631" y="146479"/>
                      <a:pt x="268839" y="139698"/>
                      <a:pt x="268839" y="131447"/>
                    </a:cubicBezTo>
                    <a:close/>
                    <a:moveTo>
                      <a:pt x="90594" y="0"/>
                    </a:moveTo>
                    <a:cubicBezTo>
                      <a:pt x="113773" y="0"/>
                      <a:pt x="136952" y="8816"/>
                      <a:pt x="154613" y="26448"/>
                    </a:cubicBezTo>
                    <a:lnTo>
                      <a:pt x="125179" y="55947"/>
                    </a:lnTo>
                    <a:cubicBezTo>
                      <a:pt x="170235" y="24639"/>
                      <a:pt x="225028" y="6329"/>
                      <a:pt x="284009" y="6329"/>
                    </a:cubicBezTo>
                    <a:cubicBezTo>
                      <a:pt x="342990" y="6329"/>
                      <a:pt x="397669" y="24639"/>
                      <a:pt x="442839" y="55947"/>
                    </a:cubicBezTo>
                    <a:lnTo>
                      <a:pt x="413291" y="26448"/>
                    </a:lnTo>
                    <a:cubicBezTo>
                      <a:pt x="448725" y="-8816"/>
                      <a:pt x="506008" y="-8816"/>
                      <a:pt x="541329" y="26448"/>
                    </a:cubicBezTo>
                    <a:cubicBezTo>
                      <a:pt x="576763" y="61824"/>
                      <a:pt x="576763" y="119014"/>
                      <a:pt x="541329" y="154391"/>
                    </a:cubicBezTo>
                    <a:lnTo>
                      <a:pt x="513480" y="126474"/>
                    </a:lnTo>
                    <a:cubicBezTo>
                      <a:pt x="544839" y="171571"/>
                      <a:pt x="563178" y="226275"/>
                      <a:pt x="563178" y="285160"/>
                    </a:cubicBezTo>
                    <a:cubicBezTo>
                      <a:pt x="563178" y="380440"/>
                      <a:pt x="514952" y="464756"/>
                      <a:pt x="441593" y="515052"/>
                    </a:cubicBezTo>
                    <a:lnTo>
                      <a:pt x="492197" y="565574"/>
                    </a:lnTo>
                    <a:cubicBezTo>
                      <a:pt x="501027" y="574390"/>
                      <a:pt x="501027" y="588744"/>
                      <a:pt x="492197" y="597560"/>
                    </a:cubicBezTo>
                    <a:cubicBezTo>
                      <a:pt x="487782" y="601968"/>
                      <a:pt x="482008" y="604115"/>
                      <a:pt x="476235" y="604115"/>
                    </a:cubicBezTo>
                    <a:cubicBezTo>
                      <a:pt x="470348" y="604115"/>
                      <a:pt x="464574" y="601968"/>
                      <a:pt x="460159" y="597560"/>
                    </a:cubicBezTo>
                    <a:lnTo>
                      <a:pt x="400839" y="538222"/>
                    </a:lnTo>
                    <a:cubicBezTo>
                      <a:pt x="365292" y="554723"/>
                      <a:pt x="325669" y="563878"/>
                      <a:pt x="284009" y="563878"/>
                    </a:cubicBezTo>
                    <a:cubicBezTo>
                      <a:pt x="242235" y="563878"/>
                      <a:pt x="202726" y="554723"/>
                      <a:pt x="167065" y="538222"/>
                    </a:cubicBezTo>
                    <a:lnTo>
                      <a:pt x="107745" y="597560"/>
                    </a:lnTo>
                    <a:cubicBezTo>
                      <a:pt x="103330" y="601968"/>
                      <a:pt x="97556" y="604115"/>
                      <a:pt x="91782" y="604115"/>
                    </a:cubicBezTo>
                    <a:cubicBezTo>
                      <a:pt x="85896" y="604115"/>
                      <a:pt x="80122" y="601968"/>
                      <a:pt x="75707" y="597560"/>
                    </a:cubicBezTo>
                    <a:cubicBezTo>
                      <a:pt x="66877" y="588744"/>
                      <a:pt x="66877" y="574390"/>
                      <a:pt x="75707" y="565574"/>
                    </a:cubicBezTo>
                    <a:lnTo>
                      <a:pt x="126311" y="515052"/>
                    </a:lnTo>
                    <a:cubicBezTo>
                      <a:pt x="52952" y="464756"/>
                      <a:pt x="4726" y="380440"/>
                      <a:pt x="4726" y="285160"/>
                    </a:cubicBezTo>
                    <a:cubicBezTo>
                      <a:pt x="4726" y="226275"/>
                      <a:pt x="23065" y="171571"/>
                      <a:pt x="54424" y="126474"/>
                    </a:cubicBezTo>
                    <a:lnTo>
                      <a:pt x="26575" y="154391"/>
                    </a:lnTo>
                    <a:cubicBezTo>
                      <a:pt x="-8859" y="119014"/>
                      <a:pt x="-8859" y="61824"/>
                      <a:pt x="26575" y="26448"/>
                    </a:cubicBezTo>
                    <a:cubicBezTo>
                      <a:pt x="44235" y="8816"/>
                      <a:pt x="67415" y="0"/>
                      <a:pt x="90594" y="0"/>
                    </a:cubicBezTo>
                    <a:close/>
                  </a:path>
                </a:pathLst>
              </a:custGeom>
              <a:solidFill>
                <a:schemeClr val="bg1">
                  <a:lumMod val="50000"/>
                </a:schemeClr>
              </a:solidFill>
              <a:ln>
                <a:noFill/>
              </a:ln>
            </p:spPr>
            <p:txBody>
              <a:bodyPr/>
              <a:lstStyle/>
              <a:p>
                <a:endParaRPr lang="zh-CN" altLang="en-US"/>
              </a:p>
            </p:txBody>
          </p:sp>
          <p:sp>
            <p:nvSpPr>
              <p:cNvPr id="13" name="ïşļïḍê">
                <a:extLst>
                  <a:ext uri="{FF2B5EF4-FFF2-40B4-BE49-F238E27FC236}">
                    <a16:creationId xmlns:a16="http://schemas.microsoft.com/office/drawing/2014/main" id="{3E2B53CD-1410-4A04-B298-69B72ED57A18}"/>
                  </a:ext>
                </a:extLst>
              </p:cNvPr>
              <p:cNvSpPr txBox="1"/>
              <p:nvPr/>
            </p:nvSpPr>
            <p:spPr bwMode="auto">
              <a:xfrm>
                <a:off x="1429055" y="3456432"/>
                <a:ext cx="2163925" cy="441805"/>
              </a:xfrm>
              <a:prstGeom prst="rect">
                <a:avLst/>
              </a:prstGeom>
              <a:noFill/>
              <a:ln w="9525">
                <a:noFill/>
                <a:miter lim="800000"/>
                <a:headEnd/>
                <a:tailEnd/>
              </a:ln>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err="1"/>
                  <a:t>FightManager</a:t>
                </a:r>
                <a:endParaRPr lang="en-US" altLang="zh-CN" b="1" dirty="0"/>
              </a:p>
            </p:txBody>
          </p:sp>
          <p:sp>
            <p:nvSpPr>
              <p:cNvPr id="14" name="íślîďê">
                <a:extLst>
                  <a:ext uri="{FF2B5EF4-FFF2-40B4-BE49-F238E27FC236}">
                    <a16:creationId xmlns:a16="http://schemas.microsoft.com/office/drawing/2014/main" id="{77053DB8-6DD0-4477-80B6-D9B98EC996B2}"/>
                  </a:ext>
                </a:extLst>
              </p:cNvPr>
              <p:cNvSpPr/>
              <p:nvPr/>
            </p:nvSpPr>
            <p:spPr bwMode="auto">
              <a:xfrm>
                <a:off x="1429055" y="3898237"/>
                <a:ext cx="2163925" cy="96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zh-CN" altLang="en-US" sz="1100" dirty="0"/>
                  <a:t>战斗管理器类，它维护了玩家血量、能量、护盾等的当前值和最大值，与战斗回合</a:t>
                </a:r>
                <a:r>
                  <a:rPr lang="en-US" altLang="zh-CN" sz="1100" dirty="0" err="1"/>
                  <a:t>FightUnit</a:t>
                </a:r>
                <a:r>
                  <a:rPr lang="zh-CN" altLang="en-US" sz="1100" dirty="0"/>
                  <a:t>及其派生类共同管理战斗中的回合更替，以及敌我双方回合行动顺序与行动逻辑。</a:t>
                </a:r>
                <a:endParaRPr lang="en-US" altLang="zh-CN" sz="1100" dirty="0"/>
              </a:p>
            </p:txBody>
          </p:sp>
        </p:grpSp>
      </p:grpSp>
    </p:spTree>
    <p:extLst>
      <p:ext uri="{BB962C8B-B14F-4D97-AF65-F5344CB8AC3E}">
        <p14:creationId xmlns:p14="http://schemas.microsoft.com/office/powerpoint/2010/main" val="12028678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B900B23-62C9-45BF-A313-B79C6C113935}"/>
              </a:ext>
            </a:extLst>
          </p:cNvPr>
          <p:cNvSpPr>
            <a:spLocks noGrp="1"/>
          </p:cNvSpPr>
          <p:nvPr>
            <p:ph type="title"/>
          </p:nvPr>
        </p:nvSpPr>
        <p:spPr/>
        <p:txBody>
          <a:bodyPr/>
          <a:lstStyle/>
          <a:p>
            <a:r>
              <a:rPr lang="zh-CN" altLang="en-US" dirty="0"/>
              <a:t>卡牌管理系统</a:t>
            </a:r>
          </a:p>
        </p:txBody>
      </p:sp>
      <p:sp>
        <p:nvSpPr>
          <p:cNvPr id="4" name="灯片编号占位符 3">
            <a:extLst>
              <a:ext uri="{FF2B5EF4-FFF2-40B4-BE49-F238E27FC236}">
                <a16:creationId xmlns:a16="http://schemas.microsoft.com/office/drawing/2014/main" id="{7E14794F-CC4B-440C-91A8-DDC94121E91A}"/>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grpSp>
        <p:nvGrpSpPr>
          <p:cNvPr id="5" name="0fd8bebb-7a96-4533-9b50-1fdcac53c87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F81395A-0CC1-4682-BA67-A4D875688E1D}"/>
              </a:ext>
            </a:extLst>
          </p:cNvPr>
          <p:cNvGrpSpPr>
            <a:grpSpLocks noChangeAspect="1"/>
          </p:cNvGrpSpPr>
          <p:nvPr>
            <p:custDataLst>
              <p:tags r:id="rId1"/>
            </p:custDataLst>
          </p:nvPr>
        </p:nvGrpSpPr>
        <p:grpSpPr>
          <a:xfrm>
            <a:off x="849529" y="2415743"/>
            <a:ext cx="10491352" cy="3119402"/>
            <a:chOff x="850324" y="1286190"/>
            <a:chExt cx="10491352" cy="3119402"/>
          </a:xfrm>
        </p:grpSpPr>
        <p:sp>
          <p:nvSpPr>
            <p:cNvPr id="7" name="ïşḷíḑê">
              <a:extLst>
                <a:ext uri="{FF2B5EF4-FFF2-40B4-BE49-F238E27FC236}">
                  <a16:creationId xmlns:a16="http://schemas.microsoft.com/office/drawing/2014/main" id="{1FFECA32-C9D0-4064-B436-A19C3BFE7342}"/>
                </a:ext>
              </a:extLst>
            </p:cNvPr>
            <p:cNvSpPr/>
            <p:nvPr/>
          </p:nvSpPr>
          <p:spPr bwMode="auto">
            <a:xfrm>
              <a:off x="2837326" y="2852524"/>
              <a:ext cx="1174447" cy="1189365"/>
            </a:xfrm>
            <a:prstGeom prst="ellipse">
              <a:avLst/>
            </a:prstGeom>
            <a:solidFill>
              <a:schemeClr val="accent2"/>
            </a:solidFill>
            <a:ln>
              <a:noFill/>
            </a:ln>
          </p:spPr>
          <p:txBody>
            <a:bodyPr wrap="none" lIns="90000" tIns="46800" rIns="90000" bIns="46800" anchor="ctr">
              <a:normAutofit/>
            </a:bodyPr>
            <a:lstStyle/>
            <a:p>
              <a:pPr marL="0" marR="0" lvl="0" indent="0" algn="ctr" defTabSz="1151648" rtl="0" eaLnBrk="1" fontAlgn="auto" latinLnBrk="0" hangingPunct="1">
                <a:spcBef>
                  <a:spcPts val="0"/>
                </a:spcBef>
                <a:spcAft>
                  <a:spcPts val="0"/>
                </a:spcAft>
                <a:buClrTx/>
                <a:buSzTx/>
                <a:buFontTx/>
                <a:buNone/>
                <a:tabLst/>
                <a:defRPr/>
              </a:pPr>
              <a:r>
                <a:rPr kumimoji="0" lang="en-US" altLang="zh-CN" sz="2800" b="0" i="0" u="none" strike="noStrike" kern="1200" cap="none" spc="0" normalizeH="0" baseline="0" noProof="0" dirty="0">
                  <a:ln>
                    <a:noFill/>
                  </a:ln>
                  <a:solidFill>
                    <a:srgbClr val="FFFFFF"/>
                  </a:solidFill>
                  <a:effectLst/>
                  <a:uLnTx/>
                  <a:uFillTx/>
                  <a:latin typeface="Impact" panose="020B0806030902050204" pitchFamily="34" charset="0"/>
                </a:rPr>
                <a:t>01</a:t>
              </a:r>
            </a:p>
          </p:txBody>
        </p:sp>
        <p:sp>
          <p:nvSpPr>
            <p:cNvPr id="8" name="î$ḻïḓè">
              <a:extLst>
                <a:ext uri="{FF2B5EF4-FFF2-40B4-BE49-F238E27FC236}">
                  <a16:creationId xmlns:a16="http://schemas.microsoft.com/office/drawing/2014/main" id="{A44DFD31-1EDD-46AE-9C22-20B1ED883A19}"/>
                </a:ext>
              </a:extLst>
            </p:cNvPr>
            <p:cNvSpPr/>
            <p:nvPr/>
          </p:nvSpPr>
          <p:spPr bwMode="auto">
            <a:xfrm>
              <a:off x="4612929" y="2503777"/>
              <a:ext cx="1064965" cy="1080508"/>
            </a:xfrm>
            <a:prstGeom prst="ellipse">
              <a:avLst/>
            </a:prstGeom>
            <a:solidFill>
              <a:schemeClr val="accent2"/>
            </a:solidFill>
            <a:ln>
              <a:noFill/>
            </a:ln>
          </p:spPr>
          <p:txBody>
            <a:bodyPr wrap="none" lIns="90000" tIns="46800" rIns="90000" bIns="46800" anchor="ctr">
              <a:normAutofit/>
            </a:bodyPr>
            <a:lstStyle/>
            <a:p>
              <a:pPr marL="0" marR="0" lvl="0" indent="0" algn="ctr" defTabSz="1151648" rtl="0" eaLnBrk="1" fontAlgn="auto" latinLnBrk="0" hangingPunct="1">
                <a:spcBef>
                  <a:spcPts val="0"/>
                </a:spcBef>
                <a:spcAft>
                  <a:spcPts val="0"/>
                </a:spcAft>
                <a:buClrTx/>
                <a:buSzTx/>
                <a:buFontTx/>
                <a:buNone/>
                <a:tabLst/>
                <a:defRPr/>
              </a:pPr>
              <a:r>
                <a:rPr lang="en-US" altLang="zh-CN" sz="2800" dirty="0">
                  <a:solidFill>
                    <a:srgbClr val="FFFFFF"/>
                  </a:solidFill>
                  <a:latin typeface="Impact" panose="020B0806030902050204" pitchFamily="34" charset="0"/>
                </a:rPr>
                <a:t>02</a:t>
              </a:r>
            </a:p>
          </p:txBody>
        </p:sp>
        <p:sp>
          <p:nvSpPr>
            <p:cNvPr id="9" name="ïS1îḓê">
              <a:extLst>
                <a:ext uri="{FF2B5EF4-FFF2-40B4-BE49-F238E27FC236}">
                  <a16:creationId xmlns:a16="http://schemas.microsoft.com/office/drawing/2014/main" id="{3F183BA5-2AAE-4BF9-A1CC-76D4C0A0429D}"/>
                </a:ext>
              </a:extLst>
            </p:cNvPr>
            <p:cNvSpPr/>
            <p:nvPr/>
          </p:nvSpPr>
          <p:spPr bwMode="auto">
            <a:xfrm>
              <a:off x="7782143" y="3025578"/>
              <a:ext cx="1362704" cy="1380014"/>
            </a:xfrm>
            <a:prstGeom prst="ellipse">
              <a:avLst/>
            </a:prstGeom>
            <a:solidFill>
              <a:schemeClr val="accent2"/>
            </a:solidFill>
            <a:ln>
              <a:noFill/>
            </a:ln>
          </p:spPr>
          <p:txBody>
            <a:bodyPr wrap="none" lIns="90000" tIns="46800" rIns="90000" bIns="46800" anchor="ctr">
              <a:normAutofit/>
            </a:bodyPr>
            <a:lstStyle/>
            <a:p>
              <a:pPr marL="0" marR="0" lvl="0" indent="0" algn="ctr" defTabSz="1151648" rtl="0" eaLnBrk="1" fontAlgn="auto" latinLnBrk="0" hangingPunct="1">
                <a:spcBef>
                  <a:spcPts val="0"/>
                </a:spcBef>
                <a:spcAft>
                  <a:spcPts val="0"/>
                </a:spcAft>
                <a:buClrTx/>
                <a:buSzTx/>
                <a:buFontTx/>
                <a:buNone/>
                <a:tabLst/>
                <a:defRPr/>
              </a:pPr>
              <a:r>
                <a:rPr lang="en-US" altLang="zh-CN" sz="2800" dirty="0">
                  <a:solidFill>
                    <a:srgbClr val="FFFFFF"/>
                  </a:solidFill>
                  <a:latin typeface="Impact" panose="020B0806030902050204" pitchFamily="34" charset="0"/>
                </a:rPr>
                <a:t>04</a:t>
              </a:r>
            </a:p>
          </p:txBody>
        </p:sp>
        <p:sp>
          <p:nvSpPr>
            <p:cNvPr id="10" name="íSḻïḑe">
              <a:extLst>
                <a:ext uri="{FF2B5EF4-FFF2-40B4-BE49-F238E27FC236}">
                  <a16:creationId xmlns:a16="http://schemas.microsoft.com/office/drawing/2014/main" id="{CFBA3A21-076A-4E90-9730-12C1BD14A1F7}"/>
                </a:ext>
              </a:extLst>
            </p:cNvPr>
            <p:cNvSpPr/>
            <p:nvPr/>
          </p:nvSpPr>
          <p:spPr bwMode="auto">
            <a:xfrm>
              <a:off x="6122030" y="1286190"/>
              <a:ext cx="1672093" cy="1693333"/>
            </a:xfrm>
            <a:prstGeom prst="ellipse">
              <a:avLst/>
            </a:prstGeom>
            <a:solidFill>
              <a:schemeClr val="accent3"/>
            </a:solidFill>
            <a:ln>
              <a:noFill/>
            </a:ln>
          </p:spPr>
          <p:txBody>
            <a:bodyPr wrap="none" lIns="90000" tIns="46800" rIns="90000" bIns="46800" anchor="ctr">
              <a:normAutofit/>
            </a:bodyPr>
            <a:lstStyle/>
            <a:p>
              <a:pPr marL="0" marR="0" lvl="0" indent="0" algn="ctr" defTabSz="1151648" rtl="0" eaLnBrk="1" fontAlgn="auto" latinLnBrk="0" hangingPunct="1">
                <a:spcBef>
                  <a:spcPts val="0"/>
                </a:spcBef>
                <a:spcAft>
                  <a:spcPts val="0"/>
                </a:spcAft>
                <a:buClrTx/>
                <a:buSzTx/>
                <a:buFontTx/>
                <a:buNone/>
                <a:tabLst/>
                <a:defRPr/>
              </a:pPr>
              <a:r>
                <a:rPr lang="en-US" altLang="zh-CN" sz="4000" dirty="0">
                  <a:solidFill>
                    <a:srgbClr val="FFFFFF"/>
                  </a:solidFill>
                  <a:latin typeface="Impact" panose="020B0806030902050204" pitchFamily="34" charset="0"/>
                </a:rPr>
                <a:t>03</a:t>
              </a:r>
            </a:p>
          </p:txBody>
        </p:sp>
        <p:cxnSp>
          <p:nvCxnSpPr>
            <p:cNvPr id="12" name="直接连接符 11">
              <a:extLst>
                <a:ext uri="{FF2B5EF4-FFF2-40B4-BE49-F238E27FC236}">
                  <a16:creationId xmlns:a16="http://schemas.microsoft.com/office/drawing/2014/main" id="{E3FD1862-0A61-4E3B-B425-9127E5494E76}"/>
                </a:ext>
              </a:extLst>
            </p:cNvPr>
            <p:cNvCxnSpPr>
              <a:stCxn id="7" idx="6"/>
              <a:endCxn id="8" idx="2"/>
            </p:cNvCxnSpPr>
            <p:nvPr/>
          </p:nvCxnSpPr>
          <p:spPr>
            <a:xfrm flipV="1">
              <a:off x="4011773" y="3044031"/>
              <a:ext cx="601156" cy="403176"/>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08F23773-9655-482F-B1BD-37E8D0E279DD}"/>
                </a:ext>
              </a:extLst>
            </p:cNvPr>
            <p:cNvCxnSpPr>
              <a:cxnSpLocks/>
              <a:stCxn id="8" idx="7"/>
              <a:endCxn id="10" idx="2"/>
            </p:cNvCxnSpPr>
            <p:nvPr/>
          </p:nvCxnSpPr>
          <p:spPr>
            <a:xfrm flipV="1">
              <a:off x="5521933" y="2132857"/>
              <a:ext cx="600097" cy="529157"/>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828B00D0-97DD-4370-99BE-CE3436D1F866}"/>
                </a:ext>
              </a:extLst>
            </p:cNvPr>
            <p:cNvCxnSpPr>
              <a:cxnSpLocks/>
              <a:stCxn id="10" idx="6"/>
              <a:endCxn id="9" idx="0"/>
            </p:cNvCxnSpPr>
            <p:nvPr/>
          </p:nvCxnSpPr>
          <p:spPr>
            <a:xfrm>
              <a:off x="7794123" y="2132857"/>
              <a:ext cx="669372" cy="892721"/>
            </a:xfrm>
            <a:prstGeom prst="line">
              <a:avLst/>
            </a:prstGeom>
            <a:ln w="6350" cap="rnd">
              <a:solidFill>
                <a:schemeClr val="tx1">
                  <a:lumMod val="50000"/>
                  <a:lumOff val="50000"/>
                </a:schemeClr>
              </a:solidFill>
              <a:prstDash val="dash"/>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8" name="ïSḷîdè">
              <a:extLst>
                <a:ext uri="{FF2B5EF4-FFF2-40B4-BE49-F238E27FC236}">
                  <a16:creationId xmlns:a16="http://schemas.microsoft.com/office/drawing/2014/main" id="{4678BBE9-BADE-4EF3-B6B5-627C40BCBB88}"/>
                </a:ext>
              </a:extLst>
            </p:cNvPr>
            <p:cNvSpPr/>
            <p:nvPr/>
          </p:nvSpPr>
          <p:spPr bwMode="auto">
            <a:xfrm>
              <a:off x="9145766" y="3545221"/>
              <a:ext cx="2195910"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a:lnSpc>
                  <a:spcPct val="150000"/>
                </a:lnSpc>
              </a:pPr>
              <a:r>
                <a:rPr lang="zh-CN" altLang="en-US" sz="1100" dirty="0"/>
                <a:t>负责处理抽卡牌的效果</a:t>
              </a:r>
              <a:endParaRPr lang="en-US" altLang="zh-CN" sz="1100" dirty="0"/>
            </a:p>
          </p:txBody>
        </p:sp>
        <p:sp>
          <p:nvSpPr>
            <p:cNvPr id="19" name="îṣļïḓé">
              <a:extLst>
                <a:ext uri="{FF2B5EF4-FFF2-40B4-BE49-F238E27FC236}">
                  <a16:creationId xmlns:a16="http://schemas.microsoft.com/office/drawing/2014/main" id="{09498674-1778-4C2C-A0C6-56B108BC67BB}"/>
                </a:ext>
              </a:extLst>
            </p:cNvPr>
            <p:cNvSpPr txBox="1"/>
            <p:nvPr/>
          </p:nvSpPr>
          <p:spPr bwMode="auto">
            <a:xfrm>
              <a:off x="9145766" y="3194082"/>
              <a:ext cx="2195910"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1800" b="1" i="0" u="none" strike="noStrike" kern="1200" cap="none" spc="0" normalizeH="0" baseline="0" noProof="0" dirty="0" err="1">
                  <a:ln>
                    <a:noFill/>
                  </a:ln>
                  <a:effectLst/>
                  <a:uLnTx/>
                  <a:uFillTx/>
                </a:rPr>
                <a:t>AddCard</a:t>
              </a:r>
              <a:endParaRPr kumimoji="0" lang="zh-CN" altLang="en-US" sz="1800" b="1" i="0" u="none" strike="noStrike" kern="1200" cap="none" spc="0" normalizeH="0" baseline="0" noProof="0" dirty="0">
                <a:ln>
                  <a:noFill/>
                </a:ln>
                <a:effectLst/>
                <a:uLnTx/>
                <a:uFillTx/>
              </a:endParaRPr>
            </a:p>
          </p:txBody>
        </p:sp>
        <p:sp>
          <p:nvSpPr>
            <p:cNvPr id="20" name="îṩ1îḓê">
              <a:extLst>
                <a:ext uri="{FF2B5EF4-FFF2-40B4-BE49-F238E27FC236}">
                  <a16:creationId xmlns:a16="http://schemas.microsoft.com/office/drawing/2014/main" id="{CECF0791-2D81-4BF2-A5E3-FD309D9FB48C}"/>
                </a:ext>
              </a:extLst>
            </p:cNvPr>
            <p:cNvSpPr/>
            <p:nvPr/>
          </p:nvSpPr>
          <p:spPr bwMode="auto">
            <a:xfrm>
              <a:off x="850324" y="2895138"/>
              <a:ext cx="2096484" cy="950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a:lnSpc>
                  <a:spcPct val="150000"/>
                </a:lnSpc>
              </a:pPr>
              <a:r>
                <a:rPr lang="zh-CN" altLang="en-US" sz="1100" dirty="0"/>
                <a:t>主要负责管理卡牌相关的玩家交互效果处理，处理玩家尝试打出卡牌时的逻辑</a:t>
              </a:r>
            </a:p>
          </p:txBody>
        </p:sp>
        <p:sp>
          <p:nvSpPr>
            <p:cNvPr id="21" name="ísľîḑè">
              <a:extLst>
                <a:ext uri="{FF2B5EF4-FFF2-40B4-BE49-F238E27FC236}">
                  <a16:creationId xmlns:a16="http://schemas.microsoft.com/office/drawing/2014/main" id="{550A04A6-ECF1-4124-AD39-E8E97574C6A0}"/>
                </a:ext>
              </a:extLst>
            </p:cNvPr>
            <p:cNvSpPr txBox="1"/>
            <p:nvPr/>
          </p:nvSpPr>
          <p:spPr bwMode="auto">
            <a:xfrm>
              <a:off x="850324" y="2543999"/>
              <a:ext cx="2195910"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1800" b="1" i="0" u="none" strike="noStrike" kern="1200" cap="none" spc="0" normalizeH="0" baseline="0" noProof="0" dirty="0" err="1">
                  <a:ln>
                    <a:noFill/>
                  </a:ln>
                  <a:effectLst/>
                  <a:uLnTx/>
                  <a:uFillTx/>
                </a:rPr>
                <a:t>CardItem</a:t>
              </a:r>
              <a:endParaRPr kumimoji="0" lang="zh-CN" altLang="en-US" sz="1800" b="1" i="0" u="none" strike="noStrike" kern="1200" cap="none" spc="0" normalizeH="0" baseline="0" noProof="0" dirty="0">
                <a:ln>
                  <a:noFill/>
                </a:ln>
                <a:effectLst/>
                <a:uLnTx/>
                <a:uFillTx/>
              </a:endParaRPr>
            </a:p>
          </p:txBody>
        </p:sp>
        <p:sp>
          <p:nvSpPr>
            <p:cNvPr id="22" name="ïṥḷiḍe">
              <a:extLst>
                <a:ext uri="{FF2B5EF4-FFF2-40B4-BE49-F238E27FC236}">
                  <a16:creationId xmlns:a16="http://schemas.microsoft.com/office/drawing/2014/main" id="{BBDFF8EC-7813-428F-8AE4-BB552416902B}"/>
                </a:ext>
              </a:extLst>
            </p:cNvPr>
            <p:cNvSpPr/>
            <p:nvPr/>
          </p:nvSpPr>
          <p:spPr bwMode="auto">
            <a:xfrm>
              <a:off x="2931645" y="2011723"/>
              <a:ext cx="2195910"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a:lnSpc>
                  <a:spcPct val="150000"/>
                </a:lnSpc>
              </a:pPr>
              <a:r>
                <a:rPr lang="zh-CN" altLang="en-US" sz="1100" dirty="0"/>
                <a:t>负责处理攻击牌的效果</a:t>
              </a:r>
              <a:endParaRPr lang="en-US" altLang="zh-CN" sz="1100" dirty="0"/>
            </a:p>
          </p:txBody>
        </p:sp>
        <p:sp>
          <p:nvSpPr>
            <p:cNvPr id="23" name="ïṡḷiḓé">
              <a:extLst>
                <a:ext uri="{FF2B5EF4-FFF2-40B4-BE49-F238E27FC236}">
                  <a16:creationId xmlns:a16="http://schemas.microsoft.com/office/drawing/2014/main" id="{78FEBD30-DE69-4E47-8F1E-8DDC7CFF8E8A}"/>
                </a:ext>
              </a:extLst>
            </p:cNvPr>
            <p:cNvSpPr txBox="1"/>
            <p:nvPr/>
          </p:nvSpPr>
          <p:spPr bwMode="auto">
            <a:xfrm>
              <a:off x="2931645" y="1660584"/>
              <a:ext cx="2195910"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1800" b="1" i="0" u="none" strike="noStrike" kern="1200" cap="none" spc="0" normalizeH="0" baseline="0" noProof="0" dirty="0" err="1">
                  <a:ln>
                    <a:noFill/>
                  </a:ln>
                  <a:effectLst/>
                  <a:uLnTx/>
                  <a:uFillTx/>
                </a:rPr>
                <a:t>AttackCardItem</a:t>
              </a:r>
              <a:endParaRPr kumimoji="0" lang="zh-CN" altLang="en-US" sz="1800" b="1" i="0" u="none" strike="noStrike" kern="1200" cap="none" spc="0" normalizeH="0" baseline="0" noProof="0" dirty="0">
                <a:ln>
                  <a:noFill/>
                </a:ln>
                <a:effectLst/>
                <a:uLnTx/>
                <a:uFillTx/>
              </a:endParaRPr>
            </a:p>
          </p:txBody>
        </p:sp>
        <p:sp>
          <p:nvSpPr>
            <p:cNvPr id="24" name="iŝ1îdê">
              <a:extLst>
                <a:ext uri="{FF2B5EF4-FFF2-40B4-BE49-F238E27FC236}">
                  <a16:creationId xmlns:a16="http://schemas.microsoft.com/office/drawing/2014/main" id="{D95BE47D-1F5F-4AFA-B85D-47DE3FC3EF6A}"/>
                </a:ext>
              </a:extLst>
            </p:cNvPr>
            <p:cNvSpPr/>
            <p:nvPr/>
          </p:nvSpPr>
          <p:spPr bwMode="auto">
            <a:xfrm>
              <a:off x="7830921" y="1707636"/>
              <a:ext cx="2195910"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a:lnSpc>
                  <a:spcPct val="150000"/>
                </a:lnSpc>
              </a:pPr>
              <a:r>
                <a:rPr lang="zh-CN" altLang="en-US" sz="1100" dirty="0"/>
                <a:t>负责处理防御牌的效果</a:t>
              </a:r>
              <a:endParaRPr lang="en-US" altLang="zh-CN" sz="1100" dirty="0"/>
            </a:p>
          </p:txBody>
        </p:sp>
        <p:sp>
          <p:nvSpPr>
            <p:cNvPr id="25" name="îṧļîḍê">
              <a:extLst>
                <a:ext uri="{FF2B5EF4-FFF2-40B4-BE49-F238E27FC236}">
                  <a16:creationId xmlns:a16="http://schemas.microsoft.com/office/drawing/2014/main" id="{3B3A5F83-71A3-4623-B820-8F34E2AB3B5E}"/>
                </a:ext>
              </a:extLst>
            </p:cNvPr>
            <p:cNvSpPr txBox="1"/>
            <p:nvPr/>
          </p:nvSpPr>
          <p:spPr bwMode="auto">
            <a:xfrm>
              <a:off x="7830921" y="1356497"/>
              <a:ext cx="2195910" cy="35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lnSpcReduction="10000"/>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1800" b="1" i="0" u="none" strike="noStrike" kern="1200" cap="none" spc="0" normalizeH="0" baseline="0" noProof="0" dirty="0" err="1">
                  <a:ln>
                    <a:noFill/>
                  </a:ln>
                  <a:effectLst/>
                  <a:uLnTx/>
                  <a:uFillTx/>
                </a:rPr>
                <a:t>DefendCard</a:t>
              </a:r>
              <a:endParaRPr kumimoji="0" lang="zh-CN" altLang="en-US" sz="1800" b="1" i="0" u="none" strike="noStrike" kern="1200" cap="none" spc="0" normalizeH="0" baseline="0" noProof="0" dirty="0">
                <a:ln>
                  <a:noFill/>
                </a:ln>
                <a:effectLst/>
                <a:uLnTx/>
                <a:uFillTx/>
              </a:endParaRPr>
            </a:p>
          </p:txBody>
        </p:sp>
      </p:grpSp>
      <p:sp>
        <p:nvSpPr>
          <p:cNvPr id="32" name="文本框 31">
            <a:extLst>
              <a:ext uri="{FF2B5EF4-FFF2-40B4-BE49-F238E27FC236}">
                <a16:creationId xmlns:a16="http://schemas.microsoft.com/office/drawing/2014/main" id="{B1D18945-BED3-F2DB-2FBD-18071EDB3A2A}"/>
              </a:ext>
            </a:extLst>
          </p:cNvPr>
          <p:cNvSpPr txBox="1"/>
          <p:nvPr/>
        </p:nvSpPr>
        <p:spPr>
          <a:xfrm>
            <a:off x="669923" y="1071314"/>
            <a:ext cx="9630523" cy="338554"/>
          </a:xfrm>
          <a:prstGeom prst="rect">
            <a:avLst/>
          </a:prstGeom>
          <a:noFill/>
        </p:spPr>
        <p:txBody>
          <a:bodyPr wrap="square">
            <a:spAutoFit/>
          </a:bodyPr>
          <a:lstStyle/>
          <a:p>
            <a:r>
              <a:rPr lang="zh-CN" altLang="en-US" sz="1600" b="1" dirty="0"/>
              <a:t>主要负责具体卡牌的逻辑处理，实现战斗中卡牌相关的动画效果及打出之后的效果处理</a:t>
            </a:r>
          </a:p>
        </p:txBody>
      </p:sp>
    </p:spTree>
    <p:extLst>
      <p:ext uri="{BB962C8B-B14F-4D97-AF65-F5344CB8AC3E}">
        <p14:creationId xmlns:p14="http://schemas.microsoft.com/office/powerpoint/2010/main" val="1035548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76815" y="564775"/>
            <a:ext cx="5419185" cy="559535"/>
          </a:xfrm>
        </p:spPr>
        <p:txBody>
          <a:bodyPr/>
          <a:lstStyle/>
          <a:p>
            <a:r>
              <a:rPr lang="zh-CN" altLang="en-US" dirty="0"/>
              <a:t>分工情况</a:t>
            </a:r>
          </a:p>
        </p:txBody>
      </p:sp>
      <p:sp>
        <p:nvSpPr>
          <p:cNvPr id="7" name="文本框 6">
            <a:extLst>
              <a:ext uri="{FF2B5EF4-FFF2-40B4-BE49-F238E27FC236}">
                <a16:creationId xmlns:a16="http://schemas.microsoft.com/office/drawing/2014/main" id="{01B61FBC-F210-39BB-3A34-1967F8D13D11}"/>
              </a:ext>
            </a:extLst>
          </p:cNvPr>
          <p:cNvSpPr txBox="1"/>
          <p:nvPr/>
        </p:nvSpPr>
        <p:spPr>
          <a:xfrm>
            <a:off x="2389094" y="1437946"/>
            <a:ext cx="7413811" cy="2585323"/>
          </a:xfrm>
          <a:prstGeom prst="rect">
            <a:avLst/>
          </a:prstGeom>
          <a:noFill/>
        </p:spPr>
        <p:txBody>
          <a:bodyPr wrap="square">
            <a:spAutoFit/>
          </a:bodyPr>
          <a:lstStyle/>
          <a:p>
            <a:r>
              <a:rPr lang="zh-CN" altLang="en-US" dirty="0"/>
              <a:t>展翼飞：技术设计分析、所有模块</a:t>
            </a:r>
            <a:r>
              <a:rPr lang="en-US" altLang="zh-CN" dirty="0"/>
              <a:t>debug</a:t>
            </a:r>
          </a:p>
          <a:p>
            <a:endParaRPr lang="en-US" altLang="zh-CN" dirty="0"/>
          </a:p>
          <a:p>
            <a:r>
              <a:rPr lang="zh-CN" altLang="en-US" dirty="0"/>
              <a:t>季奕丞：玩法设计、</a:t>
            </a:r>
            <a:r>
              <a:rPr lang="en-US" altLang="zh-CN" dirty="0"/>
              <a:t>UI</a:t>
            </a:r>
            <a:r>
              <a:rPr lang="zh-CN" altLang="en-US" dirty="0"/>
              <a:t>管理、用户信息、战斗管理、卡牌效果</a:t>
            </a:r>
            <a:endParaRPr lang="en-US" altLang="zh-CN" dirty="0"/>
          </a:p>
          <a:p>
            <a:r>
              <a:rPr lang="zh-CN" altLang="en-US" dirty="0"/>
              <a:t>  </a:t>
            </a:r>
            <a:endParaRPr lang="en-US" altLang="zh-CN" dirty="0"/>
          </a:p>
          <a:p>
            <a:r>
              <a:rPr lang="zh-CN" altLang="en-US" dirty="0"/>
              <a:t>王博豪：技术设计分析、文件格式转换、战斗管理、卡牌效果</a:t>
            </a:r>
            <a:endParaRPr lang="en-US" altLang="zh-CN" dirty="0"/>
          </a:p>
          <a:p>
            <a:r>
              <a:rPr lang="zh-CN" altLang="en-US" dirty="0"/>
              <a:t>  </a:t>
            </a:r>
            <a:endParaRPr lang="en-US" altLang="zh-CN" dirty="0"/>
          </a:p>
          <a:p>
            <a:r>
              <a:rPr lang="zh-CN" altLang="en-US" dirty="0"/>
              <a:t>郑璐辰：音频管理、战斗管理、卡牌效果、</a:t>
            </a:r>
            <a:r>
              <a:rPr lang="en-US" altLang="zh-CN" dirty="0"/>
              <a:t>PPT</a:t>
            </a:r>
            <a:r>
              <a:rPr lang="zh-CN" altLang="en-US" dirty="0"/>
              <a:t>制作</a:t>
            </a:r>
            <a:endParaRPr lang="en-US" altLang="zh-CN" dirty="0"/>
          </a:p>
          <a:p>
            <a:r>
              <a:rPr lang="zh-CN" altLang="en-US" dirty="0"/>
              <a:t>  </a:t>
            </a:r>
            <a:endParaRPr lang="en-US" altLang="zh-CN" dirty="0"/>
          </a:p>
          <a:p>
            <a:r>
              <a:rPr lang="zh-CN" altLang="en-US" dirty="0"/>
              <a:t>李伦：</a:t>
            </a:r>
            <a:r>
              <a:rPr lang="en-US" altLang="zh-CN" dirty="0"/>
              <a:t>UI</a:t>
            </a:r>
            <a:r>
              <a:rPr lang="zh-CN" altLang="en-US" dirty="0"/>
              <a:t>界面、游戏配置、卡牌效果、敌人管理、展示</a:t>
            </a:r>
          </a:p>
        </p:txBody>
      </p:sp>
    </p:spTree>
    <p:extLst>
      <p:ext uri="{BB962C8B-B14F-4D97-AF65-F5344CB8AC3E}">
        <p14:creationId xmlns:p14="http://schemas.microsoft.com/office/powerpoint/2010/main" val="2064763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zh-CN" altLang="en-US" dirty="0"/>
              <a:t>感谢聆听</a:t>
            </a:r>
          </a:p>
        </p:txBody>
      </p:sp>
      <p:sp>
        <p:nvSpPr>
          <p:cNvPr id="6" name="文本占位符 5"/>
          <p:cNvSpPr>
            <a:spLocks noGrp="1"/>
          </p:cNvSpPr>
          <p:nvPr>
            <p:ph type="body" sz="quarter" idx="10"/>
          </p:nvPr>
        </p:nvSpPr>
        <p:spPr/>
        <p:txBody>
          <a:bodyPr/>
          <a:lstStyle/>
          <a:p>
            <a:r>
              <a:rPr lang="zh-CN" altLang="en-US" dirty="0"/>
              <a:t>第十一组  展翼飞  季奕丞  王博豪  郑璐辰  李伦</a:t>
            </a:r>
          </a:p>
        </p:txBody>
      </p:sp>
    </p:spTree>
    <p:extLst>
      <p:ext uri="{BB962C8B-B14F-4D97-AF65-F5344CB8AC3E}">
        <p14:creationId xmlns:p14="http://schemas.microsoft.com/office/powerpoint/2010/main" val="1259043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308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73993E5-1595-42EA-A917-293B8962FD37}"/>
              </a:ext>
            </a:extLst>
          </p:cNvPr>
          <p:cNvGrpSpPr>
            <a:grpSpLocks noChangeAspect="1"/>
          </p:cNvGrpSpPr>
          <p:nvPr>
            <p:custDataLst>
              <p:tags r:id="rId1"/>
            </p:custDataLst>
          </p:nvPr>
        </p:nvGrpSpPr>
        <p:grpSpPr>
          <a:xfrm>
            <a:off x="-930109" y="1051361"/>
            <a:ext cx="12450597" cy="4778319"/>
            <a:chOff x="-930109" y="1051361"/>
            <a:chExt cx="12450597" cy="4778319"/>
          </a:xfrm>
        </p:grpSpPr>
        <p:grpSp>
          <p:nvGrpSpPr>
            <p:cNvPr id="3" name="ïş1ïḍè">
              <a:extLst>
                <a:ext uri="{FF2B5EF4-FFF2-40B4-BE49-F238E27FC236}">
                  <a16:creationId xmlns:a16="http://schemas.microsoft.com/office/drawing/2014/main" id="{BADD7117-6649-408B-A910-871F8C414CA2}"/>
                </a:ext>
              </a:extLst>
            </p:cNvPr>
            <p:cNvGrpSpPr/>
            <p:nvPr/>
          </p:nvGrpSpPr>
          <p:grpSpPr>
            <a:xfrm>
              <a:off x="-930109" y="1051361"/>
              <a:ext cx="2490640" cy="4778319"/>
              <a:chOff x="-930109" y="1051361"/>
              <a:chExt cx="2490640" cy="4778319"/>
            </a:xfrm>
          </p:grpSpPr>
          <p:sp>
            <p:nvSpPr>
              <p:cNvPr id="24" name="îşľídé">
                <a:extLst>
                  <a:ext uri="{FF2B5EF4-FFF2-40B4-BE49-F238E27FC236}">
                    <a16:creationId xmlns:a16="http://schemas.microsoft.com/office/drawing/2014/main" id="{42F75DF7-4657-4AB9-B9EB-3B82F030578E}"/>
                  </a:ext>
                </a:extLst>
              </p:cNvPr>
              <p:cNvSpPr/>
              <p:nvPr/>
            </p:nvSpPr>
            <p:spPr bwMode="auto">
              <a:xfrm rot="13500000">
                <a:off x="-930105" y="3969472"/>
                <a:ext cx="1860208" cy="1860208"/>
              </a:xfrm>
              <a:custGeom>
                <a:avLst/>
                <a:gdLst>
                  <a:gd name="connsiteX0" fmla="*/ 0 w 2304255"/>
                  <a:gd name="connsiteY0" fmla="*/ 0 h 2304255"/>
                  <a:gd name="connsiteX1" fmla="*/ 2304255 w 2304255"/>
                  <a:gd name="connsiteY1" fmla="*/ 2304255 h 2304255"/>
                  <a:gd name="connsiteX2" fmla="*/ 0 w 2304255"/>
                  <a:gd name="connsiteY2" fmla="*/ 2304255 h 2304255"/>
                  <a:gd name="connsiteX3" fmla="*/ 0 w 2304255"/>
                  <a:gd name="connsiteY3" fmla="*/ 0 h 2304255"/>
                </a:gdLst>
                <a:ahLst/>
                <a:cxnLst>
                  <a:cxn ang="0">
                    <a:pos x="connsiteX0" y="connsiteY0"/>
                  </a:cxn>
                  <a:cxn ang="0">
                    <a:pos x="connsiteX1" y="connsiteY1"/>
                  </a:cxn>
                  <a:cxn ang="0">
                    <a:pos x="connsiteX2" y="connsiteY2"/>
                  </a:cxn>
                  <a:cxn ang="0">
                    <a:pos x="connsiteX3" y="connsiteY3"/>
                  </a:cxn>
                </a:cxnLst>
                <a:rect l="l" t="t" r="r" b="b"/>
                <a:pathLst>
                  <a:path w="2304255" h="2304255">
                    <a:moveTo>
                      <a:pt x="0" y="0"/>
                    </a:moveTo>
                    <a:lnTo>
                      <a:pt x="2304255" y="2304255"/>
                    </a:lnTo>
                    <a:lnTo>
                      <a:pt x="0" y="2304255"/>
                    </a:lnTo>
                    <a:lnTo>
                      <a:pt x="0" y="0"/>
                    </a:lnTo>
                    <a:close/>
                  </a:path>
                </a:pathLst>
              </a:custGeom>
              <a:solidFill>
                <a:schemeClr val="accent2"/>
              </a:solidFill>
              <a:ln w="19050">
                <a:noFill/>
                <a:round/>
                <a:headEnd/>
                <a:tailEnd/>
              </a:ln>
            </p:spPr>
            <p:txBody>
              <a:bodyPr anchor="ctr"/>
              <a:lstStyle/>
              <a:p>
                <a:pPr algn="ctr"/>
                <a:endParaRPr/>
              </a:p>
            </p:txBody>
          </p:sp>
          <p:sp>
            <p:nvSpPr>
              <p:cNvPr id="25" name="ïṡļíḓê">
                <a:extLst>
                  <a:ext uri="{FF2B5EF4-FFF2-40B4-BE49-F238E27FC236}">
                    <a16:creationId xmlns:a16="http://schemas.microsoft.com/office/drawing/2014/main" id="{3E9E06E6-EB4E-42DF-8743-F21721874A00}"/>
                  </a:ext>
                </a:extLst>
              </p:cNvPr>
              <p:cNvSpPr/>
              <p:nvPr/>
            </p:nvSpPr>
            <p:spPr bwMode="auto">
              <a:xfrm rot="2700000">
                <a:off x="-930109" y="1051361"/>
                <a:ext cx="1860208" cy="1860208"/>
              </a:xfrm>
              <a:custGeom>
                <a:avLst/>
                <a:gdLst>
                  <a:gd name="connsiteX0" fmla="*/ 0 w 1860208"/>
                  <a:gd name="connsiteY0" fmla="*/ 0 h 1860208"/>
                  <a:gd name="connsiteX1" fmla="*/ 1860208 w 1860208"/>
                  <a:gd name="connsiteY1" fmla="*/ 0 h 1860208"/>
                  <a:gd name="connsiteX2" fmla="*/ 1860208 w 1860208"/>
                  <a:gd name="connsiteY2" fmla="*/ 1860208 h 1860208"/>
                </a:gdLst>
                <a:ahLst/>
                <a:cxnLst>
                  <a:cxn ang="0">
                    <a:pos x="connsiteX0" y="connsiteY0"/>
                  </a:cxn>
                  <a:cxn ang="0">
                    <a:pos x="connsiteX1" y="connsiteY1"/>
                  </a:cxn>
                  <a:cxn ang="0">
                    <a:pos x="connsiteX2" y="connsiteY2"/>
                  </a:cxn>
                </a:cxnLst>
                <a:rect l="l" t="t" r="r" b="b"/>
                <a:pathLst>
                  <a:path w="1860208" h="1860208">
                    <a:moveTo>
                      <a:pt x="0" y="0"/>
                    </a:moveTo>
                    <a:lnTo>
                      <a:pt x="1860208" y="0"/>
                    </a:lnTo>
                    <a:lnTo>
                      <a:pt x="1860208" y="1860208"/>
                    </a:lnTo>
                    <a:close/>
                  </a:path>
                </a:pathLst>
              </a:custGeom>
              <a:solidFill>
                <a:schemeClr val="accent1">
                  <a:lumMod val="100000"/>
                </a:schemeClr>
              </a:solidFill>
              <a:ln w="19050">
                <a:noFill/>
                <a:round/>
                <a:headEnd/>
                <a:tailEnd/>
              </a:ln>
            </p:spPr>
            <p:txBody>
              <a:bodyPr wrap="square" anchor="ctr">
                <a:noAutofit/>
              </a:bodyPr>
              <a:lstStyle/>
              <a:p>
                <a:pPr algn="ctr"/>
                <a:endParaRPr/>
              </a:p>
            </p:txBody>
          </p:sp>
          <p:sp>
            <p:nvSpPr>
              <p:cNvPr id="26" name="ïś1ídé">
                <a:extLst>
                  <a:ext uri="{FF2B5EF4-FFF2-40B4-BE49-F238E27FC236}">
                    <a16:creationId xmlns:a16="http://schemas.microsoft.com/office/drawing/2014/main" id="{0A4E1A7A-4FFD-4489-8874-C32000123A88}"/>
                  </a:ext>
                </a:extLst>
              </p:cNvPr>
              <p:cNvSpPr/>
              <p:nvPr/>
            </p:nvSpPr>
            <p:spPr bwMode="auto">
              <a:xfrm rot="5400000">
                <a:off x="-780266" y="2648735"/>
                <a:ext cx="3121063" cy="1560531"/>
              </a:xfrm>
              <a:custGeom>
                <a:avLst/>
                <a:gdLst>
                  <a:gd name="connsiteX0" fmla="*/ 2367656 w 4735313"/>
                  <a:gd name="connsiteY0" fmla="*/ 0 h 2367656"/>
                  <a:gd name="connsiteX1" fmla="*/ 4735313 w 4735313"/>
                  <a:gd name="connsiteY1" fmla="*/ 2367656 h 2367656"/>
                  <a:gd name="connsiteX2" fmla="*/ 3847062 w 4735313"/>
                  <a:gd name="connsiteY2" fmla="*/ 2367656 h 2367656"/>
                  <a:gd name="connsiteX3" fmla="*/ 2367656 w 4735313"/>
                  <a:gd name="connsiteY3" fmla="*/ 888250 h 2367656"/>
                  <a:gd name="connsiteX4" fmla="*/ 888250 w 4735313"/>
                  <a:gd name="connsiteY4" fmla="*/ 2367656 h 2367656"/>
                  <a:gd name="connsiteX5" fmla="*/ 0 w 4735313"/>
                  <a:gd name="connsiteY5" fmla="*/ 2367656 h 2367656"/>
                  <a:gd name="connsiteX6" fmla="*/ 2367656 w 4735313"/>
                  <a:gd name="connsiteY6" fmla="*/ 0 h 236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5313" h="2367656">
                    <a:moveTo>
                      <a:pt x="2367656" y="0"/>
                    </a:moveTo>
                    <a:lnTo>
                      <a:pt x="4735313" y="2367656"/>
                    </a:lnTo>
                    <a:lnTo>
                      <a:pt x="3847062" y="2367656"/>
                    </a:lnTo>
                    <a:lnTo>
                      <a:pt x="2367656" y="888250"/>
                    </a:lnTo>
                    <a:lnTo>
                      <a:pt x="888250" y="2367656"/>
                    </a:lnTo>
                    <a:lnTo>
                      <a:pt x="0" y="2367656"/>
                    </a:lnTo>
                    <a:lnTo>
                      <a:pt x="2367656" y="0"/>
                    </a:lnTo>
                    <a:close/>
                  </a:path>
                </a:pathLst>
              </a:custGeom>
              <a:solidFill>
                <a:schemeClr val="tx2">
                  <a:alpha val="77000"/>
                </a:schemeClr>
              </a:solidFill>
              <a:ln w="19050">
                <a:noFill/>
                <a:round/>
                <a:headEnd/>
                <a:tailEnd/>
              </a:ln>
            </p:spPr>
            <p:txBody>
              <a:bodyPr anchor="ctr"/>
              <a:lstStyle/>
              <a:p>
                <a:pPr algn="ctr"/>
                <a:endParaRPr/>
              </a:p>
            </p:txBody>
          </p:sp>
        </p:grpSp>
        <p:sp>
          <p:nvSpPr>
            <p:cNvPr id="4" name="iṡḻïḋè">
              <a:extLst>
                <a:ext uri="{FF2B5EF4-FFF2-40B4-BE49-F238E27FC236}">
                  <a16:creationId xmlns:a16="http://schemas.microsoft.com/office/drawing/2014/main" id="{7846A2DF-2499-46CC-BD72-878EDAAAF774}"/>
                </a:ext>
              </a:extLst>
            </p:cNvPr>
            <p:cNvSpPr/>
            <p:nvPr/>
          </p:nvSpPr>
          <p:spPr>
            <a:xfrm>
              <a:off x="1543012" y="2978855"/>
              <a:ext cx="3742988" cy="923330"/>
            </a:xfrm>
            <a:prstGeom prst="rect">
              <a:avLst/>
            </a:prstGeom>
          </p:spPr>
          <p:txBody>
            <a:bodyPr wrap="square" anchor="ctr" anchorCtr="1">
              <a:normAutofit fontScale="85000" lnSpcReduction="10000"/>
            </a:bodyPr>
            <a:lstStyle/>
            <a:p>
              <a:pPr algn="r"/>
              <a:r>
                <a:rPr lang="en-US" altLang="zh-CN" sz="5400" b="1" spc="300" dirty="0">
                  <a:solidFill>
                    <a:schemeClr val="tx2"/>
                  </a:solidFill>
                </a:rPr>
                <a:t>CONTENTS</a:t>
              </a:r>
            </a:p>
          </p:txBody>
        </p:sp>
        <p:sp>
          <p:nvSpPr>
            <p:cNvPr id="7" name="î$1iḍé">
              <a:extLst>
                <a:ext uri="{FF2B5EF4-FFF2-40B4-BE49-F238E27FC236}">
                  <a16:creationId xmlns:a16="http://schemas.microsoft.com/office/drawing/2014/main" id="{CD5DFD44-4CC0-41EC-8DFB-5EC67BBEA035}"/>
                </a:ext>
              </a:extLst>
            </p:cNvPr>
            <p:cNvSpPr/>
            <p:nvPr/>
          </p:nvSpPr>
          <p:spPr>
            <a:xfrm>
              <a:off x="6281458" y="4718769"/>
              <a:ext cx="624349" cy="624349"/>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fontScale="92500" lnSpcReduction="20000"/>
            </a:bodyPr>
            <a:lstStyle/>
            <a:p>
              <a:pPr algn="ctr"/>
              <a:r>
                <a:rPr lang="en-US" altLang="zh-CN">
                  <a:solidFill>
                    <a:schemeClr val="bg1"/>
                  </a:solidFill>
                  <a:latin typeface="Impact" panose="020B0806030902050204" pitchFamily="34" charset="0"/>
                </a:rPr>
                <a:t>03</a:t>
              </a:r>
            </a:p>
          </p:txBody>
        </p:sp>
        <p:sp>
          <p:nvSpPr>
            <p:cNvPr id="8" name="i$ľîďè">
              <a:extLst>
                <a:ext uri="{FF2B5EF4-FFF2-40B4-BE49-F238E27FC236}">
                  <a16:creationId xmlns:a16="http://schemas.microsoft.com/office/drawing/2014/main" id="{532CEC60-8DD3-4D06-B4E0-15A1E6A92E59}"/>
                </a:ext>
              </a:extLst>
            </p:cNvPr>
            <p:cNvSpPr/>
            <p:nvPr/>
          </p:nvSpPr>
          <p:spPr>
            <a:xfrm>
              <a:off x="6281457" y="3111071"/>
              <a:ext cx="624349" cy="62434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fontScale="92500" lnSpcReduction="20000"/>
            </a:bodyPr>
            <a:lstStyle/>
            <a:p>
              <a:pPr algn="ctr"/>
              <a:r>
                <a:rPr lang="en-US" altLang="zh-CN" dirty="0">
                  <a:solidFill>
                    <a:schemeClr val="bg1"/>
                  </a:solidFill>
                  <a:latin typeface="Impact" panose="020B0806030902050204" pitchFamily="34" charset="0"/>
                </a:rPr>
                <a:t>02</a:t>
              </a:r>
            </a:p>
          </p:txBody>
        </p:sp>
        <p:sp>
          <p:nvSpPr>
            <p:cNvPr id="9" name="ïṩḷïḓê">
              <a:extLst>
                <a:ext uri="{FF2B5EF4-FFF2-40B4-BE49-F238E27FC236}">
                  <a16:creationId xmlns:a16="http://schemas.microsoft.com/office/drawing/2014/main" id="{2661F026-DBCB-4982-B0CF-04DBC6BE21DE}"/>
                </a:ext>
              </a:extLst>
            </p:cNvPr>
            <p:cNvSpPr/>
            <p:nvPr/>
          </p:nvSpPr>
          <p:spPr>
            <a:xfrm>
              <a:off x="6281461" y="1514883"/>
              <a:ext cx="624349" cy="624349"/>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fontScale="92500" lnSpcReduction="20000"/>
            </a:bodyPr>
            <a:lstStyle/>
            <a:p>
              <a:pPr algn="ctr"/>
              <a:r>
                <a:rPr lang="en-US" altLang="zh-CN" dirty="0">
                  <a:solidFill>
                    <a:schemeClr val="bg1"/>
                  </a:solidFill>
                  <a:latin typeface="Impact" panose="020B0806030902050204" pitchFamily="34" charset="0"/>
                </a:rPr>
                <a:t>01</a:t>
              </a:r>
            </a:p>
          </p:txBody>
        </p:sp>
        <p:sp>
          <p:nvSpPr>
            <p:cNvPr id="14" name="ïṡ1îdê">
              <a:extLst>
                <a:ext uri="{FF2B5EF4-FFF2-40B4-BE49-F238E27FC236}">
                  <a16:creationId xmlns:a16="http://schemas.microsoft.com/office/drawing/2014/main" id="{B75D195C-F930-4251-AE91-CC1A749565F3}"/>
                </a:ext>
              </a:extLst>
            </p:cNvPr>
            <p:cNvSpPr txBox="1"/>
            <p:nvPr/>
          </p:nvSpPr>
          <p:spPr>
            <a:xfrm>
              <a:off x="6905806" y="4746665"/>
              <a:ext cx="3962574" cy="303981"/>
            </a:xfrm>
            <a:prstGeom prst="rect">
              <a:avLst/>
            </a:prstGeom>
            <a:noFill/>
          </p:spPr>
          <p:txBody>
            <a:bodyPr wrap="none" lIns="90000" tIns="46800" rIns="90000" bIns="46800" anchor="b" anchorCtr="0">
              <a:normAutofit fontScale="92500" lnSpcReduction="10000"/>
            </a:bodyPr>
            <a:lstStyle/>
            <a:p>
              <a:r>
                <a:rPr lang="zh-CN" altLang="en-US" sz="1600" b="1" dirty="0"/>
                <a:t>技术实现</a:t>
              </a:r>
            </a:p>
          </p:txBody>
        </p:sp>
        <p:sp>
          <p:nvSpPr>
            <p:cNvPr id="15" name="îṣ1iďé">
              <a:extLst>
                <a:ext uri="{FF2B5EF4-FFF2-40B4-BE49-F238E27FC236}">
                  <a16:creationId xmlns:a16="http://schemas.microsoft.com/office/drawing/2014/main" id="{0767D747-00B8-4BD0-9227-7A8C65A4D551}"/>
                </a:ext>
              </a:extLst>
            </p:cNvPr>
            <p:cNvSpPr txBox="1"/>
            <p:nvPr/>
          </p:nvSpPr>
          <p:spPr>
            <a:xfrm>
              <a:off x="6905844" y="5016806"/>
              <a:ext cx="3962574" cy="320368"/>
            </a:xfrm>
            <a:prstGeom prst="rect">
              <a:avLst/>
            </a:prstGeom>
          </p:spPr>
          <p:txBody>
            <a:bodyPr vert="horz" wrap="square" lIns="90000" tIns="46800" rIns="90000" bIns="46800" anchor="ctr" anchorCtr="0">
              <a:normAutofit/>
            </a:bodyPr>
            <a:lstStyle/>
            <a:p>
              <a:pPr>
                <a:lnSpc>
                  <a:spcPct val="120000"/>
                </a:lnSpc>
              </a:pPr>
              <a:r>
                <a:rPr lang="en-US" altLang="zh-CN" sz="1050" dirty="0"/>
                <a:t>UI</a:t>
              </a:r>
              <a:r>
                <a:rPr lang="zh-CN" altLang="en-US" sz="1050" dirty="0"/>
                <a:t>、音效、信息配置、战斗逻辑、卡牌管理</a:t>
              </a:r>
              <a:endParaRPr lang="en-US" altLang="zh-CN" sz="1050" dirty="0"/>
            </a:p>
          </p:txBody>
        </p:sp>
        <p:sp>
          <p:nvSpPr>
            <p:cNvPr id="16" name="ïṥḷïḑè">
              <a:extLst>
                <a:ext uri="{FF2B5EF4-FFF2-40B4-BE49-F238E27FC236}">
                  <a16:creationId xmlns:a16="http://schemas.microsoft.com/office/drawing/2014/main" id="{ABE05AE5-B330-40D5-9A41-61349E3DA93D}"/>
                </a:ext>
              </a:extLst>
            </p:cNvPr>
            <p:cNvSpPr txBox="1"/>
            <p:nvPr/>
          </p:nvSpPr>
          <p:spPr>
            <a:xfrm>
              <a:off x="6905806" y="3108458"/>
              <a:ext cx="3962574" cy="303981"/>
            </a:xfrm>
            <a:prstGeom prst="rect">
              <a:avLst/>
            </a:prstGeom>
            <a:noFill/>
          </p:spPr>
          <p:txBody>
            <a:bodyPr wrap="none" lIns="90000" tIns="46800" rIns="90000" bIns="46800" anchor="b" anchorCtr="0">
              <a:normAutofit fontScale="92500" lnSpcReduction="10000"/>
            </a:bodyPr>
            <a:lstStyle/>
            <a:p>
              <a:r>
                <a:rPr lang="zh-CN" altLang="en-US" sz="1600" b="1" dirty="0"/>
                <a:t>玩法设计</a:t>
              </a:r>
            </a:p>
          </p:txBody>
        </p:sp>
        <p:sp>
          <p:nvSpPr>
            <p:cNvPr id="17" name="îşlíḓé">
              <a:extLst>
                <a:ext uri="{FF2B5EF4-FFF2-40B4-BE49-F238E27FC236}">
                  <a16:creationId xmlns:a16="http://schemas.microsoft.com/office/drawing/2014/main" id="{8E38060A-89DF-44AE-B871-3C8B362F1DA2}"/>
                </a:ext>
              </a:extLst>
            </p:cNvPr>
            <p:cNvSpPr txBox="1"/>
            <p:nvPr/>
          </p:nvSpPr>
          <p:spPr>
            <a:xfrm>
              <a:off x="6905806" y="3400930"/>
              <a:ext cx="3962574" cy="320368"/>
            </a:xfrm>
            <a:prstGeom prst="rect">
              <a:avLst/>
            </a:prstGeom>
          </p:spPr>
          <p:txBody>
            <a:bodyPr vert="horz" wrap="square" lIns="90000" tIns="46800" rIns="90000" bIns="46800" anchor="ctr" anchorCtr="0">
              <a:normAutofit/>
            </a:bodyPr>
            <a:lstStyle/>
            <a:p>
              <a:pPr>
                <a:lnSpc>
                  <a:spcPct val="120000"/>
                </a:lnSpc>
              </a:pPr>
              <a:r>
                <a:rPr lang="zh-CN" altLang="en-US" sz="1050" dirty="0"/>
                <a:t>卡牌系统、对战模式、</a:t>
              </a:r>
              <a:r>
                <a:rPr lang="en-US" altLang="zh-CN" sz="1050" dirty="0"/>
                <a:t>Roguelike</a:t>
              </a:r>
              <a:r>
                <a:rPr lang="zh-CN" altLang="en-US" sz="1050" dirty="0"/>
                <a:t>系统</a:t>
              </a:r>
              <a:endParaRPr lang="en-US" altLang="zh-CN" sz="1050" dirty="0"/>
            </a:p>
          </p:txBody>
        </p:sp>
        <p:sp>
          <p:nvSpPr>
            <p:cNvPr id="18" name="íṥḷïḋê">
              <a:extLst>
                <a:ext uri="{FF2B5EF4-FFF2-40B4-BE49-F238E27FC236}">
                  <a16:creationId xmlns:a16="http://schemas.microsoft.com/office/drawing/2014/main" id="{72FEF184-3C67-4402-B128-9AFDBA043BCB}"/>
                </a:ext>
              </a:extLst>
            </p:cNvPr>
            <p:cNvSpPr txBox="1"/>
            <p:nvPr/>
          </p:nvSpPr>
          <p:spPr>
            <a:xfrm>
              <a:off x="6905844" y="1503374"/>
              <a:ext cx="3962574" cy="303981"/>
            </a:xfrm>
            <a:prstGeom prst="rect">
              <a:avLst/>
            </a:prstGeom>
            <a:noFill/>
          </p:spPr>
          <p:txBody>
            <a:bodyPr wrap="none" lIns="90000" tIns="46800" rIns="90000" bIns="46800" anchor="b" anchorCtr="0">
              <a:normAutofit fontScale="92500" lnSpcReduction="10000"/>
            </a:bodyPr>
            <a:lstStyle/>
            <a:p>
              <a:r>
                <a:rPr lang="zh-CN" altLang="en-US" sz="1600" b="1" dirty="0"/>
                <a:t>游戏介绍</a:t>
              </a:r>
            </a:p>
          </p:txBody>
        </p:sp>
        <p:sp>
          <p:nvSpPr>
            <p:cNvPr id="19" name="ïśḷïḍe">
              <a:extLst>
                <a:ext uri="{FF2B5EF4-FFF2-40B4-BE49-F238E27FC236}">
                  <a16:creationId xmlns:a16="http://schemas.microsoft.com/office/drawing/2014/main" id="{4605E906-069F-40C2-9B7F-773DF2D86B4C}"/>
                </a:ext>
              </a:extLst>
            </p:cNvPr>
            <p:cNvSpPr txBox="1"/>
            <p:nvPr/>
          </p:nvSpPr>
          <p:spPr>
            <a:xfrm>
              <a:off x="6905844" y="1807355"/>
              <a:ext cx="3962574" cy="320368"/>
            </a:xfrm>
            <a:prstGeom prst="rect">
              <a:avLst/>
            </a:prstGeom>
          </p:spPr>
          <p:txBody>
            <a:bodyPr vert="horz" wrap="square" lIns="90000" tIns="46800" rIns="90000" bIns="46800" anchor="ctr" anchorCtr="0">
              <a:normAutofit/>
            </a:bodyPr>
            <a:lstStyle/>
            <a:p>
              <a:pPr>
                <a:lnSpc>
                  <a:spcPct val="120000"/>
                </a:lnSpc>
              </a:pPr>
              <a:r>
                <a:rPr lang="zh-CN" altLang="en-US" sz="1050" dirty="0"/>
                <a:t>卡牌类</a:t>
              </a:r>
              <a:r>
                <a:rPr lang="en-US" altLang="zh-CN" sz="1050" dirty="0"/>
                <a:t>Roguelike</a:t>
              </a:r>
              <a:r>
                <a:rPr lang="zh-CN" altLang="en-US" sz="1050" dirty="0"/>
                <a:t>游戏</a:t>
              </a:r>
            </a:p>
          </p:txBody>
        </p:sp>
        <p:cxnSp>
          <p:nvCxnSpPr>
            <p:cNvPr id="20" name="直接连接符 19">
              <a:extLst>
                <a:ext uri="{FF2B5EF4-FFF2-40B4-BE49-F238E27FC236}">
                  <a16:creationId xmlns:a16="http://schemas.microsoft.com/office/drawing/2014/main" id="{E54A7164-6ED4-4E23-8D12-DF4DEB1B0BBA}"/>
                </a:ext>
              </a:extLst>
            </p:cNvPr>
            <p:cNvCxnSpPr/>
            <p:nvPr/>
          </p:nvCxnSpPr>
          <p:spPr>
            <a:xfrm>
              <a:off x="6951000" y="2214000"/>
              <a:ext cx="456948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DD64390A-5A8B-46C5-B5A3-FA80BE20257C}"/>
                </a:ext>
              </a:extLst>
            </p:cNvPr>
            <p:cNvCxnSpPr/>
            <p:nvPr/>
          </p:nvCxnSpPr>
          <p:spPr>
            <a:xfrm>
              <a:off x="6905806" y="3828208"/>
              <a:ext cx="456948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A211F40F-5856-496F-965E-F7DA5B76E8F8}"/>
                </a:ext>
              </a:extLst>
            </p:cNvPr>
            <p:cNvCxnSpPr/>
            <p:nvPr/>
          </p:nvCxnSpPr>
          <p:spPr>
            <a:xfrm>
              <a:off x="6905806" y="5442416"/>
              <a:ext cx="456948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1438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游戏介绍</a:t>
            </a:r>
          </a:p>
        </p:txBody>
      </p:sp>
      <p:sp>
        <p:nvSpPr>
          <p:cNvPr id="9" name="文本框 8">
            <a:extLst>
              <a:ext uri="{FF2B5EF4-FFF2-40B4-BE49-F238E27FC236}">
                <a16:creationId xmlns:a16="http://schemas.microsoft.com/office/drawing/2014/main" id="{04F69230-F3A6-4586-9371-A858F4763E9F}"/>
              </a:ext>
            </a:extLst>
          </p:cNvPr>
          <p:cNvSpPr txBox="1"/>
          <p:nvPr/>
        </p:nvSpPr>
        <p:spPr>
          <a:xfrm>
            <a:off x="4155896" y="22124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36C65F-2AD3-4EE0-A592-2CDD29C188CB}"/>
              </a:ext>
            </a:extLst>
          </p:cNvPr>
          <p:cNvSpPr>
            <a:spLocks noGrp="1"/>
          </p:cNvSpPr>
          <p:nvPr>
            <p:ph type="title"/>
          </p:nvPr>
        </p:nvSpPr>
        <p:spPr/>
        <p:txBody>
          <a:bodyPr/>
          <a:lstStyle/>
          <a:p>
            <a:r>
              <a:rPr lang="zh-CN" altLang="en-US" dirty="0"/>
              <a:t>地牢勇士</a:t>
            </a:r>
          </a:p>
        </p:txBody>
      </p:sp>
      <p:sp>
        <p:nvSpPr>
          <p:cNvPr id="4" name="灯片编号占位符 3">
            <a:extLst>
              <a:ext uri="{FF2B5EF4-FFF2-40B4-BE49-F238E27FC236}">
                <a16:creationId xmlns:a16="http://schemas.microsoft.com/office/drawing/2014/main" id="{69A1AC99-46F0-4B3C-BBAF-B5DF03A7B40B}"/>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pic>
        <p:nvPicPr>
          <p:cNvPr id="29" name="图片 28">
            <a:extLst>
              <a:ext uri="{FF2B5EF4-FFF2-40B4-BE49-F238E27FC236}">
                <a16:creationId xmlns:a16="http://schemas.microsoft.com/office/drawing/2014/main" id="{A3FA08A5-BF6B-6489-AEB7-51736A41C733}"/>
              </a:ext>
            </a:extLst>
          </p:cNvPr>
          <p:cNvPicPr>
            <a:picLocks noChangeAspect="1"/>
          </p:cNvPicPr>
          <p:nvPr/>
        </p:nvPicPr>
        <p:blipFill>
          <a:blip r:embed="rId2"/>
          <a:stretch>
            <a:fillRect/>
          </a:stretch>
        </p:blipFill>
        <p:spPr>
          <a:xfrm>
            <a:off x="2584572" y="1247620"/>
            <a:ext cx="7022855" cy="3593128"/>
          </a:xfrm>
          <a:prstGeom prst="rect">
            <a:avLst/>
          </a:prstGeom>
          <a:noFill/>
          <a:ln>
            <a:noFill/>
          </a:ln>
        </p:spPr>
      </p:pic>
      <p:sp>
        <p:nvSpPr>
          <p:cNvPr id="30" name="文本框 29">
            <a:extLst>
              <a:ext uri="{FF2B5EF4-FFF2-40B4-BE49-F238E27FC236}">
                <a16:creationId xmlns:a16="http://schemas.microsoft.com/office/drawing/2014/main" id="{816A1080-9092-FE9A-43BC-098D03984B24}"/>
              </a:ext>
            </a:extLst>
          </p:cNvPr>
          <p:cNvSpPr txBox="1"/>
          <p:nvPr/>
        </p:nvSpPr>
        <p:spPr>
          <a:xfrm>
            <a:off x="669924" y="5256437"/>
            <a:ext cx="10850563" cy="615553"/>
          </a:xfrm>
          <a:prstGeom prst="rect">
            <a:avLst/>
          </a:prstGeom>
          <a:noFill/>
        </p:spPr>
        <p:txBody>
          <a:bodyPr wrap="square" rtlCol="0">
            <a:spAutoFit/>
          </a:bodyPr>
          <a:lstStyle/>
          <a:p>
            <a:r>
              <a:rPr lang="en-US" altLang="zh-CN" sz="1700" b="1" dirty="0"/>
              <a:t>《</a:t>
            </a:r>
            <a:r>
              <a:rPr lang="zh-CN" altLang="en-US" sz="1700" b="1" dirty="0"/>
              <a:t>地牢勇士</a:t>
            </a:r>
            <a:r>
              <a:rPr lang="en-US" altLang="zh-CN" sz="1700" b="1" dirty="0"/>
              <a:t>》</a:t>
            </a:r>
            <a:r>
              <a:rPr lang="zh-CN" altLang="en-US" sz="1700" b="1" dirty="0"/>
              <a:t>是一款卡牌类</a:t>
            </a:r>
            <a:r>
              <a:rPr lang="en-US" altLang="zh-CN" sz="1700" b="1" dirty="0"/>
              <a:t>Roguelike</a:t>
            </a:r>
            <a:r>
              <a:rPr lang="zh-CN" altLang="en-US" sz="1700" b="1" dirty="0"/>
              <a:t>游戏，其核心玩法是卡牌战斗以及闯关过程中的</a:t>
            </a:r>
            <a:r>
              <a:rPr lang="en-US" altLang="zh-CN" sz="1700" b="1" dirty="0"/>
              <a:t>Roguelike</a:t>
            </a:r>
            <a:r>
              <a:rPr lang="zh-CN" altLang="en-US" sz="1700" b="1" dirty="0"/>
              <a:t>系统。玩家需要在游戏中打造出独一无二的牌组，遭遇无数离奇的生物，挑战并屠戮地牢。</a:t>
            </a:r>
          </a:p>
        </p:txBody>
      </p:sp>
    </p:spTree>
    <p:extLst>
      <p:ext uri="{BB962C8B-B14F-4D97-AF65-F5344CB8AC3E}">
        <p14:creationId xmlns:p14="http://schemas.microsoft.com/office/powerpoint/2010/main" val="1700563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玩法设计</a:t>
            </a:r>
          </a:p>
        </p:txBody>
      </p:sp>
      <p:sp>
        <p:nvSpPr>
          <p:cNvPr id="6" name="文本占位符 5"/>
          <p:cNvSpPr>
            <a:spLocks noGrp="1"/>
          </p:cNvSpPr>
          <p:nvPr>
            <p:ph type="body" idx="1"/>
          </p:nvPr>
        </p:nvSpPr>
        <p:spPr/>
        <p:txBody>
          <a:bodyPr/>
          <a:lstStyle/>
          <a:p>
            <a:pPr lvl="0">
              <a:lnSpc>
                <a:spcPct val="100000"/>
              </a:lnSpc>
            </a:pPr>
            <a:r>
              <a:rPr lang="zh-CN" altLang="en-US" dirty="0"/>
              <a:t>卡牌系统、对战模式、</a:t>
            </a:r>
            <a:r>
              <a:rPr lang="en-US" altLang="zh-CN" dirty="0"/>
              <a:t>Roguelike</a:t>
            </a:r>
            <a:r>
              <a:rPr lang="zh-CN" altLang="en-US" dirty="0"/>
              <a:t>系统</a:t>
            </a:r>
          </a:p>
        </p:txBody>
      </p:sp>
      <p:sp>
        <p:nvSpPr>
          <p:cNvPr id="9" name="文本框 8">
            <a:extLst>
              <a:ext uri="{FF2B5EF4-FFF2-40B4-BE49-F238E27FC236}">
                <a16:creationId xmlns:a16="http://schemas.microsoft.com/office/drawing/2014/main" id="{04F69230-F3A6-4586-9371-A858F4763E9F}"/>
              </a:ext>
            </a:extLst>
          </p:cNvPr>
          <p:cNvSpPr txBox="1"/>
          <p:nvPr/>
        </p:nvSpPr>
        <p:spPr>
          <a:xfrm>
            <a:off x="4155896" y="22124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6811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36C65F-2AD3-4EE0-A592-2CDD29C188CB}"/>
              </a:ext>
            </a:extLst>
          </p:cNvPr>
          <p:cNvSpPr>
            <a:spLocks noGrp="1"/>
          </p:cNvSpPr>
          <p:nvPr>
            <p:ph type="title"/>
          </p:nvPr>
        </p:nvSpPr>
        <p:spPr/>
        <p:txBody>
          <a:bodyPr/>
          <a:lstStyle/>
          <a:p>
            <a:r>
              <a:rPr lang="zh-CN" altLang="en-US" dirty="0"/>
              <a:t>卡牌系统</a:t>
            </a:r>
          </a:p>
        </p:txBody>
      </p:sp>
      <p:sp>
        <p:nvSpPr>
          <p:cNvPr id="4" name="灯片编号占位符 3">
            <a:extLst>
              <a:ext uri="{FF2B5EF4-FFF2-40B4-BE49-F238E27FC236}">
                <a16:creationId xmlns:a16="http://schemas.microsoft.com/office/drawing/2014/main" id="{69A1AC99-46F0-4B3C-BBAF-B5DF03A7B40B}"/>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grpSp>
        <p:nvGrpSpPr>
          <p:cNvPr id="5" name="cbc49400-e200-43b7-9b64-94f3d0a8120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A14F998-C581-4351-8B27-3E4C8C88A567}"/>
              </a:ext>
            </a:extLst>
          </p:cNvPr>
          <p:cNvGrpSpPr>
            <a:grpSpLocks noChangeAspect="1"/>
          </p:cNvGrpSpPr>
          <p:nvPr>
            <p:custDataLst>
              <p:tags r:id="rId1"/>
            </p:custDataLst>
          </p:nvPr>
        </p:nvGrpSpPr>
        <p:grpSpPr>
          <a:xfrm>
            <a:off x="669925" y="1712607"/>
            <a:ext cx="10850564" cy="4431017"/>
            <a:chOff x="669925" y="1712607"/>
            <a:chExt cx="10850564" cy="4431017"/>
          </a:xfrm>
        </p:grpSpPr>
        <p:sp>
          <p:nvSpPr>
            <p:cNvPr id="6" name="î$ľíde">
              <a:extLst>
                <a:ext uri="{FF2B5EF4-FFF2-40B4-BE49-F238E27FC236}">
                  <a16:creationId xmlns:a16="http://schemas.microsoft.com/office/drawing/2014/main" id="{87F632C4-87AA-4987-9B27-620E6A9CA7F4}"/>
                </a:ext>
              </a:extLst>
            </p:cNvPr>
            <p:cNvSpPr/>
            <p:nvPr/>
          </p:nvSpPr>
          <p:spPr>
            <a:xfrm>
              <a:off x="669925" y="4359239"/>
              <a:ext cx="10850564" cy="17843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nvGrpSpPr>
            <p:cNvPr id="10" name="iṣļîḓe">
              <a:extLst>
                <a:ext uri="{FF2B5EF4-FFF2-40B4-BE49-F238E27FC236}">
                  <a16:creationId xmlns:a16="http://schemas.microsoft.com/office/drawing/2014/main" id="{1A86814E-67A9-4843-B135-D2B326F3940D}"/>
                </a:ext>
              </a:extLst>
            </p:cNvPr>
            <p:cNvGrpSpPr/>
            <p:nvPr/>
          </p:nvGrpSpPr>
          <p:grpSpPr>
            <a:xfrm>
              <a:off x="4627721" y="1712607"/>
              <a:ext cx="2107807" cy="2646632"/>
              <a:chOff x="3174389" y="4112908"/>
              <a:chExt cx="2107807" cy="2646632"/>
            </a:xfrm>
          </p:grpSpPr>
          <p:sp>
            <p:nvSpPr>
              <p:cNvPr id="25" name="íṥḻíḍe">
                <a:extLst>
                  <a:ext uri="{FF2B5EF4-FFF2-40B4-BE49-F238E27FC236}">
                    <a16:creationId xmlns:a16="http://schemas.microsoft.com/office/drawing/2014/main" id="{6181E3B7-214A-4A22-A47C-3907C7C34749}"/>
                  </a:ext>
                </a:extLst>
              </p:cNvPr>
              <p:cNvSpPr/>
              <p:nvPr/>
            </p:nvSpPr>
            <p:spPr bwMode="auto">
              <a:xfrm>
                <a:off x="3174389" y="4749054"/>
                <a:ext cx="2107807" cy="201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200" dirty="0"/>
                  <a:t>玩家的手牌是有限的，多余的牌将直接被移到玩家的弃牌堆。当玩家抽牌堆没牌时，弃牌堆将洗牌加入至抽牌堆。</a:t>
                </a:r>
                <a:endParaRPr lang="en-US" altLang="zh-CN" sz="1200" dirty="0"/>
              </a:p>
            </p:txBody>
          </p:sp>
          <p:sp>
            <p:nvSpPr>
              <p:cNvPr id="24" name="íSlîḑe">
                <a:extLst>
                  <a:ext uri="{FF2B5EF4-FFF2-40B4-BE49-F238E27FC236}">
                    <a16:creationId xmlns:a16="http://schemas.microsoft.com/office/drawing/2014/main" id="{2AF60477-2BDD-43B4-877D-622D51E69DCB}"/>
                  </a:ext>
                </a:extLst>
              </p:cNvPr>
              <p:cNvSpPr/>
              <p:nvPr/>
            </p:nvSpPr>
            <p:spPr bwMode="auto">
              <a:xfrm>
                <a:off x="3979281" y="4112908"/>
                <a:ext cx="509920" cy="508966"/>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accent1"/>
              </a:solidFill>
              <a:ln>
                <a:noFill/>
              </a:ln>
            </p:spPr>
            <p:txBody>
              <a:bodyPr wrap="square" lIns="91440" tIns="45720" rIns="91440" bIns="45720">
                <a:normAutofit/>
              </a:bodyPr>
              <a:lstStyle/>
              <a:p>
                <a:endParaRPr lang="zh-CN" altLang="en-US"/>
              </a:p>
            </p:txBody>
          </p:sp>
        </p:grpSp>
        <p:grpSp>
          <p:nvGrpSpPr>
            <p:cNvPr id="11" name="iśḷïdè">
              <a:extLst>
                <a:ext uri="{FF2B5EF4-FFF2-40B4-BE49-F238E27FC236}">
                  <a16:creationId xmlns:a16="http://schemas.microsoft.com/office/drawing/2014/main" id="{7AF4560F-9C6A-4068-B9D1-150E0F187718}"/>
                </a:ext>
              </a:extLst>
            </p:cNvPr>
            <p:cNvGrpSpPr/>
            <p:nvPr/>
          </p:nvGrpSpPr>
          <p:grpSpPr>
            <a:xfrm>
              <a:off x="8157674" y="1741031"/>
              <a:ext cx="2107807" cy="2592841"/>
              <a:chOff x="6347925" y="4141332"/>
              <a:chExt cx="2107807" cy="2592841"/>
            </a:xfrm>
          </p:grpSpPr>
          <p:sp>
            <p:nvSpPr>
              <p:cNvPr id="21" name="isľidè">
                <a:extLst>
                  <a:ext uri="{FF2B5EF4-FFF2-40B4-BE49-F238E27FC236}">
                    <a16:creationId xmlns:a16="http://schemas.microsoft.com/office/drawing/2014/main" id="{94D442DF-8F15-47DB-A6CA-A2829A2819D8}"/>
                  </a:ext>
                </a:extLst>
              </p:cNvPr>
              <p:cNvSpPr/>
              <p:nvPr/>
            </p:nvSpPr>
            <p:spPr bwMode="auto">
              <a:xfrm>
                <a:off x="6347925" y="4749054"/>
                <a:ext cx="2107807" cy="198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200" dirty="0"/>
                  <a:t>击败对手以赢得战斗，获得奖励。</a:t>
                </a:r>
                <a:endParaRPr lang="en-US" altLang="zh-CN" sz="1200" dirty="0"/>
              </a:p>
            </p:txBody>
          </p:sp>
          <p:sp>
            <p:nvSpPr>
              <p:cNvPr id="20" name="íṧḷíḋè">
                <a:extLst>
                  <a:ext uri="{FF2B5EF4-FFF2-40B4-BE49-F238E27FC236}">
                    <a16:creationId xmlns:a16="http://schemas.microsoft.com/office/drawing/2014/main" id="{7E3D91BF-CC2A-4A5B-84AD-A137205C9BB5}"/>
                  </a:ext>
                </a:extLst>
              </p:cNvPr>
              <p:cNvSpPr/>
              <p:nvPr/>
            </p:nvSpPr>
            <p:spPr bwMode="auto">
              <a:xfrm>
                <a:off x="7141676" y="4141332"/>
                <a:ext cx="520306" cy="535142"/>
              </a:xfrm>
              <a:custGeom>
                <a:avLst/>
                <a:gdLst>
                  <a:gd name="T0" fmla="*/ 6023 w 6383"/>
                  <a:gd name="T1" fmla="*/ 2985 h 6575"/>
                  <a:gd name="T2" fmla="*/ 5921 w 6383"/>
                  <a:gd name="T3" fmla="*/ 1957 h 6575"/>
                  <a:gd name="T4" fmla="*/ 5304 w 6383"/>
                  <a:gd name="T5" fmla="*/ 1379 h 6575"/>
                  <a:gd name="T6" fmla="*/ 4619 w 6383"/>
                  <a:gd name="T7" fmla="*/ 608 h 6575"/>
                  <a:gd name="T8" fmla="*/ 3777 w 6383"/>
                  <a:gd name="T9" fmla="*/ 501 h 6575"/>
                  <a:gd name="T10" fmla="*/ 2768 w 6383"/>
                  <a:gd name="T11" fmla="*/ 280 h 6575"/>
                  <a:gd name="T12" fmla="*/ 2028 w 6383"/>
                  <a:gd name="T13" fmla="*/ 688 h 6575"/>
                  <a:gd name="T14" fmla="*/ 1083 w 6383"/>
                  <a:gd name="T15" fmla="*/ 1103 h 6575"/>
                  <a:gd name="T16" fmla="*/ 723 w 6383"/>
                  <a:gd name="T17" fmla="*/ 1868 h 6575"/>
                  <a:gd name="T18" fmla="*/ 201 w 6383"/>
                  <a:gd name="T19" fmla="*/ 2759 h 6575"/>
                  <a:gd name="T20" fmla="*/ 360 w 6383"/>
                  <a:gd name="T21" fmla="*/ 3591 h 6575"/>
                  <a:gd name="T22" fmla="*/ 461 w 6383"/>
                  <a:gd name="T23" fmla="*/ 4619 h 6575"/>
                  <a:gd name="T24" fmla="*/ 1079 w 6383"/>
                  <a:gd name="T25" fmla="*/ 5197 h 6575"/>
                  <a:gd name="T26" fmla="*/ 1764 w 6383"/>
                  <a:gd name="T27" fmla="*/ 5968 h 6575"/>
                  <a:gd name="T28" fmla="*/ 2604 w 6383"/>
                  <a:gd name="T29" fmla="*/ 6073 h 6575"/>
                  <a:gd name="T30" fmla="*/ 3613 w 6383"/>
                  <a:gd name="T31" fmla="*/ 6295 h 6575"/>
                  <a:gd name="T32" fmla="*/ 4353 w 6383"/>
                  <a:gd name="T33" fmla="*/ 5888 h 6575"/>
                  <a:gd name="T34" fmla="*/ 5299 w 6383"/>
                  <a:gd name="T35" fmla="*/ 5473 h 6575"/>
                  <a:gd name="T36" fmla="*/ 5659 w 6383"/>
                  <a:gd name="T37" fmla="*/ 4708 h 6575"/>
                  <a:gd name="T38" fmla="*/ 6180 w 6383"/>
                  <a:gd name="T39" fmla="*/ 3817 h 6575"/>
                  <a:gd name="T40" fmla="*/ 3877 w 6383"/>
                  <a:gd name="T41" fmla="*/ 4231 h 6575"/>
                  <a:gd name="T42" fmla="*/ 3381 w 6383"/>
                  <a:gd name="T43" fmla="*/ 4613 h 6575"/>
                  <a:gd name="T44" fmla="*/ 3287 w 6383"/>
                  <a:gd name="T45" fmla="*/ 4924 h 6575"/>
                  <a:gd name="T46" fmla="*/ 2960 w 6383"/>
                  <a:gd name="T47" fmla="*/ 4820 h 6575"/>
                  <a:gd name="T48" fmla="*/ 2844 w 6383"/>
                  <a:gd name="T49" fmla="*/ 4529 h 6575"/>
                  <a:gd name="T50" fmla="*/ 2356 w 6383"/>
                  <a:gd name="T51" fmla="*/ 4233 h 6575"/>
                  <a:gd name="T52" fmla="*/ 2560 w 6383"/>
                  <a:gd name="T53" fmla="*/ 3940 h 6575"/>
                  <a:gd name="T54" fmla="*/ 3307 w 6383"/>
                  <a:gd name="T55" fmla="*/ 4036 h 6575"/>
                  <a:gd name="T56" fmla="*/ 3193 w 6383"/>
                  <a:gd name="T57" fmla="*/ 3535 h 6575"/>
                  <a:gd name="T58" fmla="*/ 2365 w 6383"/>
                  <a:gd name="T59" fmla="*/ 2705 h 6575"/>
                  <a:gd name="T60" fmla="*/ 2991 w 6383"/>
                  <a:gd name="T61" fmla="*/ 1897 h 6575"/>
                  <a:gd name="T62" fmla="*/ 3105 w 6383"/>
                  <a:gd name="T63" fmla="*/ 1651 h 6575"/>
                  <a:gd name="T64" fmla="*/ 3401 w 6383"/>
                  <a:gd name="T65" fmla="*/ 1856 h 6575"/>
                  <a:gd name="T66" fmla="*/ 3865 w 6383"/>
                  <a:gd name="T67" fmla="*/ 2119 h 6575"/>
                  <a:gd name="T68" fmla="*/ 3847 w 6383"/>
                  <a:gd name="T69" fmla="*/ 2508 h 6575"/>
                  <a:gd name="T70" fmla="*/ 3208 w 6383"/>
                  <a:gd name="T71" fmla="*/ 2464 h 6575"/>
                  <a:gd name="T72" fmla="*/ 3025 w 6383"/>
                  <a:gd name="T73" fmla="*/ 2832 h 6575"/>
                  <a:gd name="T74" fmla="*/ 3647 w 6383"/>
                  <a:gd name="T75" fmla="*/ 3137 h 6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83" h="6575">
                    <a:moveTo>
                      <a:pt x="6023" y="3591"/>
                    </a:moveTo>
                    <a:cubicBezTo>
                      <a:pt x="5895" y="3409"/>
                      <a:pt x="5895" y="3167"/>
                      <a:pt x="6023" y="2985"/>
                    </a:cubicBezTo>
                    <a:lnTo>
                      <a:pt x="6181" y="2759"/>
                    </a:lnTo>
                    <a:cubicBezTo>
                      <a:pt x="6383" y="2472"/>
                      <a:pt x="6253" y="2072"/>
                      <a:pt x="5921" y="1957"/>
                    </a:cubicBezTo>
                    <a:lnTo>
                      <a:pt x="5660" y="1868"/>
                    </a:lnTo>
                    <a:cubicBezTo>
                      <a:pt x="5451" y="1796"/>
                      <a:pt x="5308" y="1600"/>
                      <a:pt x="5304" y="1379"/>
                    </a:cubicBezTo>
                    <a:lnTo>
                      <a:pt x="5300" y="1103"/>
                    </a:lnTo>
                    <a:cubicBezTo>
                      <a:pt x="5295" y="752"/>
                      <a:pt x="4953" y="505"/>
                      <a:pt x="4619" y="608"/>
                    </a:cubicBezTo>
                    <a:lnTo>
                      <a:pt x="4353" y="688"/>
                    </a:lnTo>
                    <a:cubicBezTo>
                      <a:pt x="4141" y="753"/>
                      <a:pt x="3911" y="679"/>
                      <a:pt x="3777" y="501"/>
                    </a:cubicBezTo>
                    <a:lnTo>
                      <a:pt x="3611" y="280"/>
                    </a:lnTo>
                    <a:cubicBezTo>
                      <a:pt x="3400" y="0"/>
                      <a:pt x="2979" y="0"/>
                      <a:pt x="2768" y="280"/>
                    </a:cubicBezTo>
                    <a:lnTo>
                      <a:pt x="2604" y="501"/>
                    </a:lnTo>
                    <a:cubicBezTo>
                      <a:pt x="2471" y="679"/>
                      <a:pt x="2240" y="753"/>
                      <a:pt x="2028" y="688"/>
                    </a:cubicBezTo>
                    <a:lnTo>
                      <a:pt x="1764" y="608"/>
                    </a:lnTo>
                    <a:cubicBezTo>
                      <a:pt x="1429" y="505"/>
                      <a:pt x="1088" y="752"/>
                      <a:pt x="1083" y="1103"/>
                    </a:cubicBezTo>
                    <a:lnTo>
                      <a:pt x="1079" y="1379"/>
                    </a:lnTo>
                    <a:cubicBezTo>
                      <a:pt x="1075" y="1600"/>
                      <a:pt x="933" y="1796"/>
                      <a:pt x="723" y="1868"/>
                    </a:cubicBezTo>
                    <a:lnTo>
                      <a:pt x="461" y="1957"/>
                    </a:lnTo>
                    <a:cubicBezTo>
                      <a:pt x="129" y="2071"/>
                      <a:pt x="0" y="2471"/>
                      <a:pt x="201" y="2759"/>
                    </a:cubicBezTo>
                    <a:lnTo>
                      <a:pt x="360" y="2985"/>
                    </a:lnTo>
                    <a:cubicBezTo>
                      <a:pt x="488" y="3167"/>
                      <a:pt x="488" y="3409"/>
                      <a:pt x="360" y="3591"/>
                    </a:cubicBezTo>
                    <a:lnTo>
                      <a:pt x="201" y="3817"/>
                    </a:lnTo>
                    <a:cubicBezTo>
                      <a:pt x="0" y="4104"/>
                      <a:pt x="129" y="4504"/>
                      <a:pt x="461" y="4619"/>
                    </a:cubicBezTo>
                    <a:lnTo>
                      <a:pt x="723" y="4708"/>
                    </a:lnTo>
                    <a:cubicBezTo>
                      <a:pt x="932" y="4780"/>
                      <a:pt x="1075" y="4976"/>
                      <a:pt x="1079" y="5197"/>
                    </a:cubicBezTo>
                    <a:lnTo>
                      <a:pt x="1083" y="5473"/>
                    </a:lnTo>
                    <a:cubicBezTo>
                      <a:pt x="1088" y="5824"/>
                      <a:pt x="1429" y="6071"/>
                      <a:pt x="1764" y="5968"/>
                    </a:cubicBezTo>
                    <a:lnTo>
                      <a:pt x="2028" y="5887"/>
                    </a:lnTo>
                    <a:cubicBezTo>
                      <a:pt x="2240" y="5821"/>
                      <a:pt x="2471" y="5896"/>
                      <a:pt x="2604" y="6073"/>
                    </a:cubicBezTo>
                    <a:lnTo>
                      <a:pt x="2771" y="6295"/>
                    </a:lnTo>
                    <a:cubicBezTo>
                      <a:pt x="2981" y="6575"/>
                      <a:pt x="3403" y="6575"/>
                      <a:pt x="3613" y="6295"/>
                    </a:cubicBezTo>
                    <a:lnTo>
                      <a:pt x="3777" y="6075"/>
                    </a:lnTo>
                    <a:cubicBezTo>
                      <a:pt x="3911" y="5897"/>
                      <a:pt x="4141" y="5823"/>
                      <a:pt x="4353" y="5888"/>
                    </a:cubicBezTo>
                    <a:lnTo>
                      <a:pt x="4617" y="5968"/>
                    </a:lnTo>
                    <a:cubicBezTo>
                      <a:pt x="4952" y="6071"/>
                      <a:pt x="5293" y="5824"/>
                      <a:pt x="5299" y="5473"/>
                    </a:cubicBezTo>
                    <a:lnTo>
                      <a:pt x="5303" y="5197"/>
                    </a:lnTo>
                    <a:cubicBezTo>
                      <a:pt x="5307" y="4976"/>
                      <a:pt x="5448" y="4780"/>
                      <a:pt x="5659" y="4708"/>
                    </a:cubicBezTo>
                    <a:lnTo>
                      <a:pt x="5920" y="4619"/>
                    </a:lnTo>
                    <a:cubicBezTo>
                      <a:pt x="6252" y="4505"/>
                      <a:pt x="6381" y="4105"/>
                      <a:pt x="6180" y="3817"/>
                    </a:cubicBezTo>
                    <a:lnTo>
                      <a:pt x="6023" y="3591"/>
                    </a:lnTo>
                    <a:close/>
                    <a:moveTo>
                      <a:pt x="3877" y="4231"/>
                    </a:moveTo>
                    <a:cubicBezTo>
                      <a:pt x="3773" y="4357"/>
                      <a:pt x="3637" y="4443"/>
                      <a:pt x="3479" y="4487"/>
                    </a:cubicBezTo>
                    <a:cubicBezTo>
                      <a:pt x="3409" y="4505"/>
                      <a:pt x="3379" y="4541"/>
                      <a:pt x="3381" y="4613"/>
                    </a:cubicBezTo>
                    <a:cubicBezTo>
                      <a:pt x="3384" y="4684"/>
                      <a:pt x="3381" y="4755"/>
                      <a:pt x="3381" y="4825"/>
                    </a:cubicBezTo>
                    <a:cubicBezTo>
                      <a:pt x="3381" y="4888"/>
                      <a:pt x="3349" y="4923"/>
                      <a:pt x="3287" y="4924"/>
                    </a:cubicBezTo>
                    <a:cubicBezTo>
                      <a:pt x="3211" y="4925"/>
                      <a:pt x="3135" y="4925"/>
                      <a:pt x="3059" y="4924"/>
                    </a:cubicBezTo>
                    <a:cubicBezTo>
                      <a:pt x="2992" y="4923"/>
                      <a:pt x="2961" y="4885"/>
                      <a:pt x="2960" y="4820"/>
                    </a:cubicBezTo>
                    <a:cubicBezTo>
                      <a:pt x="2960" y="4768"/>
                      <a:pt x="2959" y="4717"/>
                      <a:pt x="2959" y="4665"/>
                    </a:cubicBezTo>
                    <a:cubicBezTo>
                      <a:pt x="2957" y="4552"/>
                      <a:pt x="2953" y="4547"/>
                      <a:pt x="2844" y="4529"/>
                    </a:cubicBezTo>
                    <a:cubicBezTo>
                      <a:pt x="2704" y="4507"/>
                      <a:pt x="2567" y="4475"/>
                      <a:pt x="2439" y="4413"/>
                    </a:cubicBezTo>
                    <a:cubicBezTo>
                      <a:pt x="2337" y="4364"/>
                      <a:pt x="2328" y="4339"/>
                      <a:pt x="2356" y="4233"/>
                    </a:cubicBezTo>
                    <a:cubicBezTo>
                      <a:pt x="2377" y="4155"/>
                      <a:pt x="2399" y="4076"/>
                      <a:pt x="2424" y="3999"/>
                    </a:cubicBezTo>
                    <a:cubicBezTo>
                      <a:pt x="2452" y="3908"/>
                      <a:pt x="2477" y="3897"/>
                      <a:pt x="2560" y="3940"/>
                    </a:cubicBezTo>
                    <a:cubicBezTo>
                      <a:pt x="2701" y="4013"/>
                      <a:pt x="2852" y="4055"/>
                      <a:pt x="3011" y="4075"/>
                    </a:cubicBezTo>
                    <a:cubicBezTo>
                      <a:pt x="3112" y="4088"/>
                      <a:pt x="3212" y="4077"/>
                      <a:pt x="3307" y="4036"/>
                    </a:cubicBezTo>
                    <a:cubicBezTo>
                      <a:pt x="3483" y="3959"/>
                      <a:pt x="3511" y="3755"/>
                      <a:pt x="3361" y="3633"/>
                    </a:cubicBezTo>
                    <a:cubicBezTo>
                      <a:pt x="3311" y="3592"/>
                      <a:pt x="3253" y="3561"/>
                      <a:pt x="3193" y="3535"/>
                    </a:cubicBezTo>
                    <a:cubicBezTo>
                      <a:pt x="3039" y="3467"/>
                      <a:pt x="2879" y="3415"/>
                      <a:pt x="2733" y="3328"/>
                    </a:cubicBezTo>
                    <a:cubicBezTo>
                      <a:pt x="2497" y="3187"/>
                      <a:pt x="2347" y="2992"/>
                      <a:pt x="2365" y="2705"/>
                    </a:cubicBezTo>
                    <a:cubicBezTo>
                      <a:pt x="2385" y="2380"/>
                      <a:pt x="2569" y="2177"/>
                      <a:pt x="2867" y="2069"/>
                    </a:cubicBezTo>
                    <a:cubicBezTo>
                      <a:pt x="2989" y="2024"/>
                      <a:pt x="2991" y="2027"/>
                      <a:pt x="2991" y="1897"/>
                    </a:cubicBezTo>
                    <a:lnTo>
                      <a:pt x="2991" y="1767"/>
                    </a:lnTo>
                    <a:cubicBezTo>
                      <a:pt x="2993" y="1669"/>
                      <a:pt x="3009" y="1653"/>
                      <a:pt x="3105" y="1651"/>
                    </a:cubicBezTo>
                    <a:cubicBezTo>
                      <a:pt x="3135" y="1649"/>
                      <a:pt x="3165" y="1651"/>
                      <a:pt x="3195" y="1651"/>
                    </a:cubicBezTo>
                    <a:cubicBezTo>
                      <a:pt x="3400" y="1651"/>
                      <a:pt x="3400" y="1651"/>
                      <a:pt x="3401" y="1856"/>
                    </a:cubicBezTo>
                    <a:cubicBezTo>
                      <a:pt x="3401" y="2001"/>
                      <a:pt x="3401" y="2001"/>
                      <a:pt x="3547" y="2024"/>
                    </a:cubicBezTo>
                    <a:cubicBezTo>
                      <a:pt x="3657" y="2041"/>
                      <a:pt x="3764" y="2075"/>
                      <a:pt x="3865" y="2119"/>
                    </a:cubicBezTo>
                    <a:cubicBezTo>
                      <a:pt x="3921" y="2144"/>
                      <a:pt x="3943" y="2183"/>
                      <a:pt x="3925" y="2243"/>
                    </a:cubicBezTo>
                    <a:cubicBezTo>
                      <a:pt x="3900" y="2332"/>
                      <a:pt x="3876" y="2420"/>
                      <a:pt x="3847" y="2508"/>
                    </a:cubicBezTo>
                    <a:cubicBezTo>
                      <a:pt x="3820" y="2591"/>
                      <a:pt x="3793" y="2603"/>
                      <a:pt x="3713" y="2564"/>
                    </a:cubicBezTo>
                    <a:cubicBezTo>
                      <a:pt x="3553" y="2487"/>
                      <a:pt x="3385" y="2455"/>
                      <a:pt x="3208" y="2464"/>
                    </a:cubicBezTo>
                    <a:cubicBezTo>
                      <a:pt x="3161" y="2467"/>
                      <a:pt x="3116" y="2473"/>
                      <a:pt x="3073" y="2492"/>
                    </a:cubicBezTo>
                    <a:cubicBezTo>
                      <a:pt x="2920" y="2559"/>
                      <a:pt x="2896" y="2728"/>
                      <a:pt x="3025" y="2832"/>
                    </a:cubicBezTo>
                    <a:cubicBezTo>
                      <a:pt x="3091" y="2885"/>
                      <a:pt x="3167" y="2923"/>
                      <a:pt x="3245" y="2956"/>
                    </a:cubicBezTo>
                    <a:cubicBezTo>
                      <a:pt x="3381" y="3012"/>
                      <a:pt x="3517" y="3065"/>
                      <a:pt x="3647" y="3137"/>
                    </a:cubicBezTo>
                    <a:cubicBezTo>
                      <a:pt x="4056" y="3365"/>
                      <a:pt x="4167" y="3880"/>
                      <a:pt x="3877" y="4231"/>
                    </a:cubicBezTo>
                    <a:close/>
                  </a:path>
                </a:pathLst>
              </a:custGeom>
              <a:solidFill>
                <a:schemeClr val="tx1">
                  <a:lumMod val="50000"/>
                  <a:lumOff val="50000"/>
                </a:schemeClr>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2" name="iSḷíḋe">
              <a:extLst>
                <a:ext uri="{FF2B5EF4-FFF2-40B4-BE49-F238E27FC236}">
                  <a16:creationId xmlns:a16="http://schemas.microsoft.com/office/drawing/2014/main" id="{F97F9A2C-C050-44E0-8A67-BD5711E603ED}"/>
                </a:ext>
              </a:extLst>
            </p:cNvPr>
            <p:cNvGrpSpPr/>
            <p:nvPr/>
          </p:nvGrpSpPr>
          <p:grpSpPr>
            <a:xfrm>
              <a:off x="1122502" y="1741031"/>
              <a:ext cx="2221331" cy="2592841"/>
              <a:chOff x="25586" y="4141332"/>
              <a:chExt cx="2221331" cy="2592841"/>
            </a:xfrm>
          </p:grpSpPr>
          <p:sp>
            <p:nvSpPr>
              <p:cNvPr id="17" name="ïṣ1ïḍé">
                <a:extLst>
                  <a:ext uri="{FF2B5EF4-FFF2-40B4-BE49-F238E27FC236}">
                    <a16:creationId xmlns:a16="http://schemas.microsoft.com/office/drawing/2014/main" id="{F6F71424-D9E5-4143-8A1F-170369047816}"/>
                  </a:ext>
                </a:extLst>
              </p:cNvPr>
              <p:cNvSpPr/>
              <p:nvPr/>
            </p:nvSpPr>
            <p:spPr bwMode="auto">
              <a:xfrm>
                <a:off x="25586" y="4749054"/>
                <a:ext cx="2221331" cy="198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200" dirty="0"/>
                  <a:t>每回合开始时，玩家可从抽牌堆抽若干张牌，并获得</a:t>
                </a:r>
                <a:r>
                  <a:rPr lang="en-US" altLang="zh-CN" sz="1200" dirty="0"/>
                  <a:t>3</a:t>
                </a:r>
                <a:r>
                  <a:rPr lang="zh-CN" altLang="en-US" sz="1200" dirty="0"/>
                  <a:t>点能量。打出手牌需要花费能量点。在玩家回合中，可以在敌人上方看见他们的意图；玩家的回合结束后，手牌会移到玩家的弃牌堆。</a:t>
                </a:r>
                <a:endParaRPr lang="en-US" altLang="zh-CN" sz="1200" dirty="0"/>
              </a:p>
            </p:txBody>
          </p:sp>
          <p:sp>
            <p:nvSpPr>
              <p:cNvPr id="16" name="íṧlídè">
                <a:extLst>
                  <a:ext uri="{FF2B5EF4-FFF2-40B4-BE49-F238E27FC236}">
                    <a16:creationId xmlns:a16="http://schemas.microsoft.com/office/drawing/2014/main" id="{236E0198-406D-4FE9-AFB6-7293A0A4A063}"/>
                  </a:ext>
                </a:extLst>
              </p:cNvPr>
              <p:cNvSpPr/>
              <p:nvPr/>
            </p:nvSpPr>
            <p:spPr bwMode="auto">
              <a:xfrm>
                <a:off x="827135" y="4141332"/>
                <a:ext cx="499670" cy="480542"/>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tx1">
                  <a:lumMod val="50000"/>
                  <a:lumOff val="50000"/>
                </a:schemeClr>
              </a:solidFill>
              <a:ln>
                <a:noFill/>
              </a:ln>
            </p:spPr>
            <p:txBody>
              <a:bodyPr/>
              <a:lstStyle/>
              <a:p>
                <a:endParaRPr lang="zh-CN" altLang="en-US"/>
              </a:p>
            </p:txBody>
          </p:sp>
        </p:grpSp>
        <p:cxnSp>
          <p:nvCxnSpPr>
            <p:cNvPr id="13" name="直接连接符 12">
              <a:extLst>
                <a:ext uri="{FF2B5EF4-FFF2-40B4-BE49-F238E27FC236}">
                  <a16:creationId xmlns:a16="http://schemas.microsoft.com/office/drawing/2014/main" id="{A37BC6FB-0EB3-4388-9DD1-FEECCDDECE52}"/>
                </a:ext>
              </a:extLst>
            </p:cNvPr>
            <p:cNvCxnSpPr>
              <a:cxnSpLocks/>
            </p:cNvCxnSpPr>
            <p:nvPr/>
          </p:nvCxnSpPr>
          <p:spPr>
            <a:xfrm>
              <a:off x="3904113" y="2524124"/>
              <a:ext cx="0" cy="183511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66807508-0976-4C61-9714-3C032A95C33A}"/>
                </a:ext>
              </a:extLst>
            </p:cNvPr>
            <p:cNvCxnSpPr>
              <a:cxnSpLocks/>
            </p:cNvCxnSpPr>
            <p:nvPr/>
          </p:nvCxnSpPr>
          <p:spPr>
            <a:xfrm>
              <a:off x="7366624" y="2524124"/>
              <a:ext cx="0" cy="183511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29" name="图片 28">
            <a:extLst>
              <a:ext uri="{FF2B5EF4-FFF2-40B4-BE49-F238E27FC236}">
                <a16:creationId xmlns:a16="http://schemas.microsoft.com/office/drawing/2014/main" id="{70F2DBB2-A5E0-D478-0005-21B89FC04BEF}"/>
              </a:ext>
            </a:extLst>
          </p:cNvPr>
          <p:cNvPicPr>
            <a:picLocks noChangeAspect="1"/>
          </p:cNvPicPr>
          <p:nvPr/>
        </p:nvPicPr>
        <p:blipFill rotWithShape="1">
          <a:blip r:embed="rId3"/>
          <a:srcRect t="82170"/>
          <a:stretch/>
        </p:blipFill>
        <p:spPr>
          <a:xfrm>
            <a:off x="867304" y="4761755"/>
            <a:ext cx="10457391" cy="953986"/>
          </a:xfrm>
          <a:prstGeom prst="rect">
            <a:avLst/>
          </a:prstGeom>
          <a:noFill/>
          <a:ln>
            <a:noFill/>
          </a:ln>
        </p:spPr>
      </p:pic>
    </p:spTree>
    <p:extLst>
      <p:ext uri="{BB962C8B-B14F-4D97-AF65-F5344CB8AC3E}">
        <p14:creationId xmlns:p14="http://schemas.microsoft.com/office/powerpoint/2010/main" val="3279240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53C9DB5-D23A-4CB6-86EC-CE86621EBBC4}"/>
              </a:ext>
            </a:extLst>
          </p:cNvPr>
          <p:cNvSpPr>
            <a:spLocks noGrp="1"/>
          </p:cNvSpPr>
          <p:nvPr>
            <p:ph type="title"/>
          </p:nvPr>
        </p:nvSpPr>
        <p:spPr/>
        <p:txBody>
          <a:bodyPr/>
          <a:lstStyle/>
          <a:p>
            <a:r>
              <a:rPr lang="zh-CN" altLang="en-US" dirty="0"/>
              <a:t>对战模式</a:t>
            </a:r>
          </a:p>
        </p:txBody>
      </p:sp>
      <p:sp>
        <p:nvSpPr>
          <p:cNvPr id="4" name="灯片编号占位符 3">
            <a:extLst>
              <a:ext uri="{FF2B5EF4-FFF2-40B4-BE49-F238E27FC236}">
                <a16:creationId xmlns:a16="http://schemas.microsoft.com/office/drawing/2014/main" id="{97DBB6F6-220D-42CA-976E-0DEDE1A39A4E}"/>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5" name="80eb4a01-e2b5-427d-b3ab-99ed35253e3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74AF972-3154-48BF-BABC-29B0034FDCB1}"/>
              </a:ext>
            </a:extLst>
          </p:cNvPr>
          <p:cNvGrpSpPr>
            <a:grpSpLocks noChangeAspect="1"/>
          </p:cNvGrpSpPr>
          <p:nvPr>
            <p:custDataLst>
              <p:tags r:id="rId1"/>
            </p:custDataLst>
          </p:nvPr>
        </p:nvGrpSpPr>
        <p:grpSpPr>
          <a:xfrm>
            <a:off x="669925" y="1123950"/>
            <a:ext cx="6687992" cy="5019675"/>
            <a:chOff x="669925" y="1123950"/>
            <a:chExt cx="6687992" cy="5019675"/>
          </a:xfrm>
        </p:grpSpPr>
        <p:sp>
          <p:nvSpPr>
            <p:cNvPr id="7" name="ïśľîdé">
              <a:extLst>
                <a:ext uri="{FF2B5EF4-FFF2-40B4-BE49-F238E27FC236}">
                  <a16:creationId xmlns:a16="http://schemas.microsoft.com/office/drawing/2014/main" id="{23E92E94-F616-4564-89B4-507BA6988C8F}"/>
                </a:ext>
              </a:extLst>
            </p:cNvPr>
            <p:cNvSpPr/>
            <p:nvPr/>
          </p:nvSpPr>
          <p:spPr>
            <a:xfrm>
              <a:off x="2894631" y="1160850"/>
              <a:ext cx="2107934" cy="1995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sz="900"/>
            </a:p>
          </p:txBody>
        </p:sp>
        <p:grpSp>
          <p:nvGrpSpPr>
            <p:cNvPr id="8" name="ïṣḷïḋe">
              <a:extLst>
                <a:ext uri="{FF2B5EF4-FFF2-40B4-BE49-F238E27FC236}">
                  <a16:creationId xmlns:a16="http://schemas.microsoft.com/office/drawing/2014/main" id="{6CE79BC3-FA81-4A6A-B550-1B1F316E93DE}"/>
                </a:ext>
              </a:extLst>
            </p:cNvPr>
            <p:cNvGrpSpPr/>
            <p:nvPr/>
          </p:nvGrpSpPr>
          <p:grpSpPr>
            <a:xfrm>
              <a:off x="2894631" y="3320855"/>
              <a:ext cx="2137128" cy="2376295"/>
              <a:chOff x="673100" y="-223914"/>
              <a:chExt cx="3273664" cy="2376295"/>
            </a:xfrm>
          </p:grpSpPr>
          <p:sp>
            <p:nvSpPr>
              <p:cNvPr id="23" name="iṧḻíḑê">
                <a:extLst>
                  <a:ext uri="{FF2B5EF4-FFF2-40B4-BE49-F238E27FC236}">
                    <a16:creationId xmlns:a16="http://schemas.microsoft.com/office/drawing/2014/main" id="{1F99983E-0DAE-4B9A-BBD2-705BE8046449}"/>
                  </a:ext>
                </a:extLst>
              </p:cNvPr>
              <p:cNvSpPr/>
              <p:nvPr/>
            </p:nvSpPr>
            <p:spPr bwMode="auto">
              <a:xfrm>
                <a:off x="717820" y="795847"/>
                <a:ext cx="3228944" cy="1356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dirty="0"/>
                  <a:t>对战分为玩家回合和敌人回合，交替进行，直到玩家击败怪物获得胜利，前往下一关，或者被怪物击败以结束游戏。</a:t>
                </a:r>
                <a:endParaRPr lang="en-US" altLang="zh-CN" sz="1400" dirty="0"/>
              </a:p>
            </p:txBody>
          </p:sp>
          <p:sp>
            <p:nvSpPr>
              <p:cNvPr id="24" name="íṧlîḋé">
                <a:extLst>
                  <a:ext uri="{FF2B5EF4-FFF2-40B4-BE49-F238E27FC236}">
                    <a16:creationId xmlns:a16="http://schemas.microsoft.com/office/drawing/2014/main" id="{7B8DC041-6B73-452D-8EBF-28BF4ED8E312}"/>
                  </a:ext>
                </a:extLst>
              </p:cNvPr>
              <p:cNvSpPr txBox="1"/>
              <p:nvPr/>
            </p:nvSpPr>
            <p:spPr bwMode="auto">
              <a:xfrm>
                <a:off x="673100" y="-223914"/>
                <a:ext cx="3228944"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000" b="1" dirty="0"/>
                  <a:t>对战回合</a:t>
                </a:r>
                <a:endParaRPr lang="en-US" altLang="zh-CN" sz="2000" b="1" dirty="0"/>
              </a:p>
            </p:txBody>
          </p:sp>
        </p:grpSp>
        <p:cxnSp>
          <p:nvCxnSpPr>
            <p:cNvPr id="9" name="直接连接符 8">
              <a:extLst>
                <a:ext uri="{FF2B5EF4-FFF2-40B4-BE49-F238E27FC236}">
                  <a16:creationId xmlns:a16="http://schemas.microsoft.com/office/drawing/2014/main" id="{F07839D6-7F5E-43A7-BEBC-79522DD6564D}"/>
                </a:ext>
              </a:extLst>
            </p:cNvPr>
            <p:cNvCxnSpPr>
              <a:cxnSpLocks/>
            </p:cNvCxnSpPr>
            <p:nvPr/>
          </p:nvCxnSpPr>
          <p:spPr>
            <a:xfrm>
              <a:off x="7350768" y="1123950"/>
              <a:ext cx="0" cy="3377236"/>
            </a:xfrm>
            <a:prstGeom prst="line">
              <a:avLst/>
            </a:prstGeom>
            <a:ln w="222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išḻîḍê">
              <a:extLst>
                <a:ext uri="{FF2B5EF4-FFF2-40B4-BE49-F238E27FC236}">
                  <a16:creationId xmlns:a16="http://schemas.microsoft.com/office/drawing/2014/main" id="{42418954-7ACC-4C07-84FA-F5682AB5AAE0}"/>
                </a:ext>
              </a:extLst>
            </p:cNvPr>
            <p:cNvGrpSpPr/>
            <p:nvPr/>
          </p:nvGrpSpPr>
          <p:grpSpPr>
            <a:xfrm>
              <a:off x="5119335" y="3316928"/>
              <a:ext cx="2238582" cy="2187402"/>
              <a:chOff x="673100" y="-227841"/>
              <a:chExt cx="3429071" cy="2187402"/>
            </a:xfrm>
          </p:grpSpPr>
          <p:sp>
            <p:nvSpPr>
              <p:cNvPr id="21" name="ïŝḻîďe">
                <a:extLst>
                  <a:ext uri="{FF2B5EF4-FFF2-40B4-BE49-F238E27FC236}">
                    <a16:creationId xmlns:a16="http://schemas.microsoft.com/office/drawing/2014/main" id="{BCFAF1FB-3E17-4964-A3C3-C9922EDFA34C}"/>
                  </a:ext>
                </a:extLst>
              </p:cNvPr>
              <p:cNvSpPr/>
              <p:nvPr/>
            </p:nvSpPr>
            <p:spPr bwMode="auto">
              <a:xfrm>
                <a:off x="806171" y="1122980"/>
                <a:ext cx="3296000" cy="836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dirty="0"/>
                  <a:t>对战以玩家回合开始，玩家获得初始卡牌并行动。</a:t>
                </a:r>
                <a:endParaRPr lang="en-US" altLang="zh-CN" sz="1400" dirty="0"/>
              </a:p>
            </p:txBody>
          </p:sp>
          <p:sp>
            <p:nvSpPr>
              <p:cNvPr id="22" name="ïśľîḓê">
                <a:extLst>
                  <a:ext uri="{FF2B5EF4-FFF2-40B4-BE49-F238E27FC236}">
                    <a16:creationId xmlns:a16="http://schemas.microsoft.com/office/drawing/2014/main" id="{459681E0-DC8E-4621-8089-F76CD4DB367F}"/>
                  </a:ext>
                </a:extLst>
              </p:cNvPr>
              <p:cNvSpPr txBox="1"/>
              <p:nvPr/>
            </p:nvSpPr>
            <p:spPr bwMode="auto">
              <a:xfrm>
                <a:off x="673100" y="-227841"/>
                <a:ext cx="3228944"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000" b="1" dirty="0"/>
                  <a:t>初始回合</a:t>
                </a:r>
                <a:endParaRPr lang="en-US" altLang="zh-CN" sz="2000" b="1" dirty="0"/>
              </a:p>
            </p:txBody>
          </p:sp>
        </p:grpSp>
        <p:sp>
          <p:nvSpPr>
            <p:cNvPr id="11" name="iṡḷíḋê">
              <a:extLst>
                <a:ext uri="{FF2B5EF4-FFF2-40B4-BE49-F238E27FC236}">
                  <a16:creationId xmlns:a16="http://schemas.microsoft.com/office/drawing/2014/main" id="{D60E3A67-F491-4B81-84E0-6214DE3BC4C8}"/>
                </a:ext>
              </a:extLst>
            </p:cNvPr>
            <p:cNvSpPr/>
            <p:nvPr/>
          </p:nvSpPr>
          <p:spPr>
            <a:xfrm>
              <a:off x="5119335" y="1169818"/>
              <a:ext cx="2107934" cy="1995628"/>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sz="900"/>
            </a:p>
          </p:txBody>
        </p:sp>
        <p:sp>
          <p:nvSpPr>
            <p:cNvPr id="12" name="ïSľïḍé">
              <a:extLst>
                <a:ext uri="{FF2B5EF4-FFF2-40B4-BE49-F238E27FC236}">
                  <a16:creationId xmlns:a16="http://schemas.microsoft.com/office/drawing/2014/main" id="{EA024B60-B644-4AE8-BF53-7EC880845FE1}"/>
                </a:ext>
              </a:extLst>
            </p:cNvPr>
            <p:cNvSpPr/>
            <p:nvPr/>
          </p:nvSpPr>
          <p:spPr bwMode="auto">
            <a:xfrm>
              <a:off x="5853821" y="1860380"/>
              <a:ext cx="638962" cy="614504"/>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tx1">
                <a:lumMod val="50000"/>
                <a:lumOff val="50000"/>
              </a:schemeClr>
            </a:solidFill>
            <a:ln>
              <a:noFill/>
            </a:ln>
          </p:spPr>
          <p:txBody>
            <a:bodyPr/>
            <a:lstStyle/>
            <a:p>
              <a:endParaRPr lang="zh-CN" altLang="en-US"/>
            </a:p>
          </p:txBody>
        </p:sp>
        <p:cxnSp>
          <p:nvCxnSpPr>
            <p:cNvPr id="13" name="直接连接符 12">
              <a:extLst>
                <a:ext uri="{FF2B5EF4-FFF2-40B4-BE49-F238E27FC236}">
                  <a16:creationId xmlns:a16="http://schemas.microsoft.com/office/drawing/2014/main" id="{3DA7EF50-FC05-44A3-89B8-EA2860E55FF4}"/>
                </a:ext>
              </a:extLst>
            </p:cNvPr>
            <p:cNvCxnSpPr>
              <a:cxnSpLocks/>
            </p:cNvCxnSpPr>
            <p:nvPr/>
          </p:nvCxnSpPr>
          <p:spPr>
            <a:xfrm>
              <a:off x="5060951" y="3881789"/>
              <a:ext cx="0" cy="226183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îšlíḑé">
              <a:extLst>
                <a:ext uri="{FF2B5EF4-FFF2-40B4-BE49-F238E27FC236}">
                  <a16:creationId xmlns:a16="http://schemas.microsoft.com/office/drawing/2014/main" id="{4CDA7B2E-0C31-4D32-846F-AF6422355300}"/>
                </a:ext>
              </a:extLst>
            </p:cNvPr>
            <p:cNvSpPr/>
            <p:nvPr/>
          </p:nvSpPr>
          <p:spPr>
            <a:xfrm>
              <a:off x="669925" y="1151890"/>
              <a:ext cx="2107934" cy="1995628"/>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sz="900" dirty="0"/>
            </a:p>
          </p:txBody>
        </p:sp>
        <p:sp>
          <p:nvSpPr>
            <p:cNvPr id="15" name="íŝḷíḍe">
              <a:extLst>
                <a:ext uri="{FF2B5EF4-FFF2-40B4-BE49-F238E27FC236}">
                  <a16:creationId xmlns:a16="http://schemas.microsoft.com/office/drawing/2014/main" id="{6A3A9DAD-E2E7-4F88-BDAD-79BCAA537143}"/>
                </a:ext>
              </a:extLst>
            </p:cNvPr>
            <p:cNvSpPr/>
            <p:nvPr/>
          </p:nvSpPr>
          <p:spPr bwMode="auto">
            <a:xfrm>
              <a:off x="1404411" y="1842356"/>
              <a:ext cx="638962" cy="614696"/>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tx1">
                <a:lumMod val="50000"/>
                <a:lumOff val="50000"/>
              </a:schemeClr>
            </a:solidFill>
            <a:ln>
              <a:noFill/>
            </a:ln>
          </p:spPr>
          <p:txBody>
            <a:bodyPr/>
            <a:lstStyle/>
            <a:p>
              <a:endParaRPr lang="zh-CN" altLang="en-US"/>
            </a:p>
          </p:txBody>
        </p:sp>
        <p:grpSp>
          <p:nvGrpSpPr>
            <p:cNvPr id="16" name="îṡľîḑê">
              <a:extLst>
                <a:ext uri="{FF2B5EF4-FFF2-40B4-BE49-F238E27FC236}">
                  <a16:creationId xmlns:a16="http://schemas.microsoft.com/office/drawing/2014/main" id="{77B48230-3692-4647-B271-4E182209D431}"/>
                </a:ext>
              </a:extLst>
            </p:cNvPr>
            <p:cNvGrpSpPr/>
            <p:nvPr/>
          </p:nvGrpSpPr>
          <p:grpSpPr>
            <a:xfrm>
              <a:off x="669925" y="3320855"/>
              <a:ext cx="2107934" cy="2573137"/>
              <a:chOff x="673100" y="-223914"/>
              <a:chExt cx="3228944" cy="2573137"/>
            </a:xfrm>
          </p:grpSpPr>
          <p:sp>
            <p:nvSpPr>
              <p:cNvPr id="19" name="iṡlíḑê">
                <a:extLst>
                  <a:ext uri="{FF2B5EF4-FFF2-40B4-BE49-F238E27FC236}">
                    <a16:creationId xmlns:a16="http://schemas.microsoft.com/office/drawing/2014/main" id="{E26CEDCD-FBD0-42BF-9972-E83E8C37AF06}"/>
                  </a:ext>
                </a:extLst>
              </p:cNvPr>
              <p:cNvSpPr/>
              <p:nvPr/>
            </p:nvSpPr>
            <p:spPr bwMode="auto">
              <a:xfrm>
                <a:off x="673100" y="337020"/>
                <a:ext cx="3228944" cy="201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400" dirty="0"/>
                  <a:t>卡牌的种类分为攻击牌、防御牌和特殊牌三类，各自用着对应的效果：攻击牌能够对敌人造成伤害，消耗敌人的护盾，溢出的伤害扣除到血量中；防御牌能够获得护盾，免受敌人的伤害；特殊牌能够抽取卡牌等。</a:t>
                </a:r>
                <a:endParaRPr lang="en-US" altLang="zh-CN" sz="1400" dirty="0"/>
              </a:p>
            </p:txBody>
          </p:sp>
          <p:sp>
            <p:nvSpPr>
              <p:cNvPr id="20" name="íṩḻidè">
                <a:extLst>
                  <a:ext uri="{FF2B5EF4-FFF2-40B4-BE49-F238E27FC236}">
                    <a16:creationId xmlns:a16="http://schemas.microsoft.com/office/drawing/2014/main" id="{AF5E67C2-4F6F-45AB-87D4-6CAF143E965D}"/>
                  </a:ext>
                </a:extLst>
              </p:cNvPr>
              <p:cNvSpPr txBox="1"/>
              <p:nvPr/>
            </p:nvSpPr>
            <p:spPr bwMode="auto">
              <a:xfrm>
                <a:off x="673100" y="-223914"/>
                <a:ext cx="3228944"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sz="2000" b="1" dirty="0"/>
                  <a:t>卡牌效果</a:t>
                </a:r>
                <a:endParaRPr lang="en-US" altLang="zh-CN" sz="2000" b="1" dirty="0"/>
              </a:p>
            </p:txBody>
          </p:sp>
        </p:grpSp>
        <p:cxnSp>
          <p:nvCxnSpPr>
            <p:cNvPr id="17" name="直接连接符 16">
              <a:extLst>
                <a:ext uri="{FF2B5EF4-FFF2-40B4-BE49-F238E27FC236}">
                  <a16:creationId xmlns:a16="http://schemas.microsoft.com/office/drawing/2014/main" id="{F3FE94AF-A3E2-440C-A254-BFBA0D2B9864}"/>
                </a:ext>
              </a:extLst>
            </p:cNvPr>
            <p:cNvCxnSpPr>
              <a:cxnSpLocks/>
            </p:cNvCxnSpPr>
            <p:nvPr/>
          </p:nvCxnSpPr>
          <p:spPr>
            <a:xfrm>
              <a:off x="2836245" y="3881789"/>
              <a:ext cx="0" cy="226183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ïşļíḓe">
              <a:extLst>
                <a:ext uri="{FF2B5EF4-FFF2-40B4-BE49-F238E27FC236}">
                  <a16:creationId xmlns:a16="http://schemas.microsoft.com/office/drawing/2014/main" id="{2F918A95-5316-488C-87CE-F2AFECFD0CA7}"/>
                </a:ext>
              </a:extLst>
            </p:cNvPr>
            <p:cNvSpPr/>
            <p:nvPr/>
          </p:nvSpPr>
          <p:spPr bwMode="auto">
            <a:xfrm>
              <a:off x="3671123" y="1872749"/>
              <a:ext cx="554950" cy="553910"/>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bg1"/>
            </a:solidFill>
            <a:ln>
              <a:noFill/>
            </a:ln>
          </p:spPr>
          <p:txBody>
            <a:bodyPr wrap="square" lIns="91440" tIns="45720" rIns="91440" bIns="45720">
              <a:normAutofit/>
            </a:bodyPr>
            <a:lstStyle/>
            <a:p>
              <a:endParaRPr lang="zh-CN" altLang="en-US"/>
            </a:p>
          </p:txBody>
        </p:sp>
      </p:grpSp>
      <p:pic>
        <p:nvPicPr>
          <p:cNvPr id="32" name="图片 31">
            <a:extLst>
              <a:ext uri="{FF2B5EF4-FFF2-40B4-BE49-F238E27FC236}">
                <a16:creationId xmlns:a16="http://schemas.microsoft.com/office/drawing/2014/main" id="{DD46099E-9EC0-9846-CD3E-0FE4A1C85C9F}"/>
              </a:ext>
            </a:extLst>
          </p:cNvPr>
          <p:cNvPicPr>
            <a:picLocks noChangeAspect="1"/>
          </p:cNvPicPr>
          <p:nvPr/>
        </p:nvPicPr>
        <p:blipFill>
          <a:blip r:embed="rId3"/>
          <a:stretch>
            <a:fillRect/>
          </a:stretch>
        </p:blipFill>
        <p:spPr>
          <a:xfrm>
            <a:off x="7469909" y="1123950"/>
            <a:ext cx="4050577" cy="2332927"/>
          </a:xfrm>
          <a:prstGeom prst="rect">
            <a:avLst/>
          </a:prstGeom>
        </p:spPr>
      </p:pic>
      <p:pic>
        <p:nvPicPr>
          <p:cNvPr id="34" name="图片 33">
            <a:extLst>
              <a:ext uri="{FF2B5EF4-FFF2-40B4-BE49-F238E27FC236}">
                <a16:creationId xmlns:a16="http://schemas.microsoft.com/office/drawing/2014/main" id="{C19AF94F-F6FD-0E1E-6FD7-378BDAC48394}"/>
              </a:ext>
            </a:extLst>
          </p:cNvPr>
          <p:cNvPicPr>
            <a:picLocks noChangeAspect="1"/>
          </p:cNvPicPr>
          <p:nvPr/>
        </p:nvPicPr>
        <p:blipFill>
          <a:blip r:embed="rId4"/>
          <a:stretch>
            <a:fillRect/>
          </a:stretch>
        </p:blipFill>
        <p:spPr>
          <a:xfrm>
            <a:off x="7469909" y="3642229"/>
            <a:ext cx="4055571" cy="2332927"/>
          </a:xfrm>
          <a:prstGeom prst="rect">
            <a:avLst/>
          </a:prstGeom>
        </p:spPr>
      </p:pic>
    </p:spTree>
    <p:extLst>
      <p:ext uri="{BB962C8B-B14F-4D97-AF65-F5344CB8AC3E}">
        <p14:creationId xmlns:p14="http://schemas.microsoft.com/office/powerpoint/2010/main" val="379832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7A401E8-E0D0-41BE-AB04-32037EDE69DD}"/>
              </a:ext>
            </a:extLst>
          </p:cNvPr>
          <p:cNvSpPr>
            <a:spLocks noGrp="1"/>
          </p:cNvSpPr>
          <p:nvPr>
            <p:ph type="title"/>
          </p:nvPr>
        </p:nvSpPr>
        <p:spPr/>
        <p:txBody>
          <a:bodyPr/>
          <a:lstStyle/>
          <a:p>
            <a:r>
              <a:rPr lang="en-US" altLang="zh-CN" dirty="0"/>
              <a:t>Roguelike</a:t>
            </a:r>
            <a:r>
              <a:rPr lang="zh-CN" altLang="en-US" dirty="0"/>
              <a:t>系统</a:t>
            </a:r>
          </a:p>
        </p:txBody>
      </p:sp>
      <p:sp>
        <p:nvSpPr>
          <p:cNvPr id="4" name="灯片编号占位符 3">
            <a:extLst>
              <a:ext uri="{FF2B5EF4-FFF2-40B4-BE49-F238E27FC236}">
                <a16:creationId xmlns:a16="http://schemas.microsoft.com/office/drawing/2014/main" id="{3A25F687-BD05-46A4-A9EB-C682571FBDE4}"/>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grpSp>
        <p:nvGrpSpPr>
          <p:cNvPr id="5" name="6dd8057e-972d-470c-93f4-a779b00206d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EBE3524-2D96-4935-B41D-1386AE1E6293}"/>
              </a:ext>
            </a:extLst>
          </p:cNvPr>
          <p:cNvGrpSpPr>
            <a:grpSpLocks noChangeAspect="1"/>
          </p:cNvGrpSpPr>
          <p:nvPr>
            <p:custDataLst>
              <p:tags r:id="rId1"/>
            </p:custDataLst>
          </p:nvPr>
        </p:nvGrpSpPr>
        <p:grpSpPr>
          <a:xfrm>
            <a:off x="729227" y="960057"/>
            <a:ext cx="9394992" cy="5060045"/>
            <a:chOff x="729227" y="960057"/>
            <a:chExt cx="9394992" cy="5060045"/>
          </a:xfrm>
        </p:grpSpPr>
        <p:sp>
          <p:nvSpPr>
            <p:cNvPr id="6" name="íṩḻïḍè">
              <a:extLst>
                <a:ext uri="{FF2B5EF4-FFF2-40B4-BE49-F238E27FC236}">
                  <a16:creationId xmlns:a16="http://schemas.microsoft.com/office/drawing/2014/main" id="{5BB61221-CB45-4E93-9EAE-B033A24D1809}"/>
                </a:ext>
              </a:extLst>
            </p:cNvPr>
            <p:cNvSpPr/>
            <p:nvPr/>
          </p:nvSpPr>
          <p:spPr bwMode="auto">
            <a:xfrm>
              <a:off x="729227" y="960057"/>
              <a:ext cx="9394992" cy="5060045"/>
            </a:xfrm>
            <a:custGeom>
              <a:avLst/>
              <a:gdLst>
                <a:gd name="T0" fmla="*/ 4807 w 4807"/>
                <a:gd name="T1" fmla="*/ 0 h 2589"/>
                <a:gd name="T2" fmla="*/ 0 w 4807"/>
                <a:gd name="T3" fmla="*/ 2589 h 2589"/>
              </a:gdLst>
              <a:ahLst/>
              <a:cxnLst>
                <a:cxn ang="0">
                  <a:pos x="T0" y="T1"/>
                </a:cxn>
                <a:cxn ang="0">
                  <a:pos x="T2" y="T3"/>
                </a:cxn>
              </a:cxnLst>
              <a:rect l="0" t="0" r="r" b="b"/>
              <a:pathLst>
                <a:path w="4807" h="2589">
                  <a:moveTo>
                    <a:pt x="4807" y="0"/>
                  </a:moveTo>
                  <a:cubicBezTo>
                    <a:pt x="3648" y="1357"/>
                    <a:pt x="1543" y="2491"/>
                    <a:pt x="0" y="2589"/>
                  </a:cubicBezTo>
                </a:path>
              </a:pathLst>
            </a:custGeom>
            <a:noFill/>
            <a:ln w="76200" cap="rnd">
              <a:solidFill>
                <a:schemeClr val="tx2"/>
              </a:solidFill>
              <a:prstDash val="solid"/>
              <a:round/>
              <a:headEnd type="arrow" w="med" len="med"/>
              <a:tailEnd type="none" w="med" len="me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nvGrpSpPr>
            <p:cNvPr id="7" name="îŝḻiḍê">
              <a:extLst>
                <a:ext uri="{FF2B5EF4-FFF2-40B4-BE49-F238E27FC236}">
                  <a16:creationId xmlns:a16="http://schemas.microsoft.com/office/drawing/2014/main" id="{F06968DA-B2F4-4B8D-ADCA-79689F2C5135}"/>
                </a:ext>
              </a:extLst>
            </p:cNvPr>
            <p:cNvGrpSpPr/>
            <p:nvPr/>
          </p:nvGrpSpPr>
          <p:grpSpPr>
            <a:xfrm>
              <a:off x="8842651" y="1624342"/>
              <a:ext cx="561088" cy="561086"/>
              <a:chOff x="9134912" y="1776440"/>
              <a:chExt cx="561088" cy="561086"/>
            </a:xfrm>
          </p:grpSpPr>
          <p:sp>
            <p:nvSpPr>
              <p:cNvPr id="26" name="îṩḻíďè">
                <a:extLst>
                  <a:ext uri="{FF2B5EF4-FFF2-40B4-BE49-F238E27FC236}">
                    <a16:creationId xmlns:a16="http://schemas.microsoft.com/office/drawing/2014/main" id="{F599E5F8-692E-42ED-9200-016AD8782ECF}"/>
                  </a:ext>
                </a:extLst>
              </p:cNvPr>
              <p:cNvSpPr/>
              <p:nvPr/>
            </p:nvSpPr>
            <p:spPr>
              <a:xfrm>
                <a:off x="9134912" y="1776440"/>
                <a:ext cx="561088" cy="56108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a:p>
            </p:txBody>
          </p:sp>
          <p:sp>
            <p:nvSpPr>
              <p:cNvPr id="27" name="iSḷiďê">
                <a:extLst>
                  <a:ext uri="{FF2B5EF4-FFF2-40B4-BE49-F238E27FC236}">
                    <a16:creationId xmlns:a16="http://schemas.microsoft.com/office/drawing/2014/main" id="{CDF8E8EC-C5BB-4606-8E27-E453460FB424}"/>
                  </a:ext>
                </a:extLst>
              </p:cNvPr>
              <p:cNvSpPr/>
              <p:nvPr/>
            </p:nvSpPr>
            <p:spPr bwMode="auto">
              <a:xfrm>
                <a:off x="9296333" y="1926104"/>
                <a:ext cx="238246" cy="261758"/>
              </a:xfrm>
              <a:custGeom>
                <a:avLst/>
                <a:gdLst>
                  <a:gd name="T0" fmla="*/ 461 w 536"/>
                  <a:gd name="T1" fmla="*/ 441 h 590"/>
                  <a:gd name="T2" fmla="*/ 404 w 536"/>
                  <a:gd name="T3" fmla="*/ 467 h 590"/>
                  <a:gd name="T4" fmla="*/ 175 w 536"/>
                  <a:gd name="T5" fmla="*/ 427 h 590"/>
                  <a:gd name="T6" fmla="*/ 339 w 536"/>
                  <a:gd name="T7" fmla="*/ 337 h 590"/>
                  <a:gd name="T8" fmla="*/ 381 w 536"/>
                  <a:gd name="T9" fmla="*/ 350 h 590"/>
                  <a:gd name="T10" fmla="*/ 456 w 536"/>
                  <a:gd name="T11" fmla="*/ 275 h 590"/>
                  <a:gd name="T12" fmla="*/ 381 w 536"/>
                  <a:gd name="T13" fmla="*/ 201 h 590"/>
                  <a:gd name="T14" fmla="*/ 362 w 536"/>
                  <a:gd name="T15" fmla="*/ 203 h 590"/>
                  <a:gd name="T16" fmla="*/ 260 w 536"/>
                  <a:gd name="T17" fmla="*/ 105 h 590"/>
                  <a:gd name="T18" fmla="*/ 267 w 536"/>
                  <a:gd name="T19" fmla="*/ 75 h 590"/>
                  <a:gd name="T20" fmla="*/ 192 w 536"/>
                  <a:gd name="T21" fmla="*/ 0 h 590"/>
                  <a:gd name="T22" fmla="*/ 117 w 536"/>
                  <a:gd name="T23" fmla="*/ 75 h 590"/>
                  <a:gd name="T24" fmla="*/ 192 w 536"/>
                  <a:gd name="T25" fmla="*/ 150 h 590"/>
                  <a:gd name="T26" fmla="*/ 209 w 536"/>
                  <a:gd name="T27" fmla="*/ 148 h 590"/>
                  <a:gd name="T28" fmla="*/ 312 w 536"/>
                  <a:gd name="T29" fmla="*/ 248 h 590"/>
                  <a:gd name="T30" fmla="*/ 307 w 536"/>
                  <a:gd name="T31" fmla="*/ 275 h 590"/>
                  <a:gd name="T32" fmla="*/ 307 w 536"/>
                  <a:gd name="T33" fmla="*/ 279 h 590"/>
                  <a:gd name="T34" fmla="*/ 114 w 536"/>
                  <a:gd name="T35" fmla="*/ 385 h 590"/>
                  <a:gd name="T36" fmla="*/ 75 w 536"/>
                  <a:gd name="T37" fmla="*/ 374 h 590"/>
                  <a:gd name="T38" fmla="*/ 0 w 536"/>
                  <a:gd name="T39" fmla="*/ 449 h 590"/>
                  <a:gd name="T40" fmla="*/ 75 w 536"/>
                  <a:gd name="T41" fmla="*/ 524 h 590"/>
                  <a:gd name="T42" fmla="*/ 138 w 536"/>
                  <a:gd name="T43" fmla="*/ 489 h 590"/>
                  <a:gd name="T44" fmla="*/ 389 w 536"/>
                  <a:gd name="T45" fmla="*/ 532 h 590"/>
                  <a:gd name="T46" fmla="*/ 462 w 536"/>
                  <a:gd name="T47" fmla="*/ 590 h 590"/>
                  <a:gd name="T48" fmla="*/ 536 w 536"/>
                  <a:gd name="T49" fmla="*/ 515 h 590"/>
                  <a:gd name="T50" fmla="*/ 461 w 536"/>
                  <a:gd name="T51" fmla="*/ 441 h 590"/>
                  <a:gd name="T52" fmla="*/ 416 w 536"/>
                  <a:gd name="T53" fmla="*/ 275 h 590"/>
                  <a:gd name="T54" fmla="*/ 381 w 536"/>
                  <a:gd name="T55" fmla="*/ 310 h 590"/>
                  <a:gd name="T56" fmla="*/ 347 w 536"/>
                  <a:gd name="T57" fmla="*/ 275 h 590"/>
                  <a:gd name="T58" fmla="*/ 381 w 536"/>
                  <a:gd name="T59" fmla="*/ 241 h 590"/>
                  <a:gd name="T60" fmla="*/ 416 w 536"/>
                  <a:gd name="T61" fmla="*/ 275 h 590"/>
                  <a:gd name="T62" fmla="*/ 157 w 536"/>
                  <a:gd name="T63" fmla="*/ 75 h 590"/>
                  <a:gd name="T64" fmla="*/ 192 w 536"/>
                  <a:gd name="T65" fmla="*/ 40 h 590"/>
                  <a:gd name="T66" fmla="*/ 227 w 536"/>
                  <a:gd name="T67" fmla="*/ 75 h 590"/>
                  <a:gd name="T68" fmla="*/ 192 w 536"/>
                  <a:gd name="T69" fmla="*/ 110 h 590"/>
                  <a:gd name="T70" fmla="*/ 157 w 536"/>
                  <a:gd name="T71" fmla="*/ 75 h 590"/>
                  <a:gd name="T72" fmla="*/ 75 w 536"/>
                  <a:gd name="T73" fmla="*/ 484 h 590"/>
                  <a:gd name="T74" fmla="*/ 40 w 536"/>
                  <a:gd name="T75" fmla="*/ 449 h 590"/>
                  <a:gd name="T76" fmla="*/ 75 w 536"/>
                  <a:gd name="T77" fmla="*/ 414 h 590"/>
                  <a:gd name="T78" fmla="*/ 110 w 536"/>
                  <a:gd name="T79" fmla="*/ 449 h 590"/>
                  <a:gd name="T80" fmla="*/ 75 w 536"/>
                  <a:gd name="T81" fmla="*/ 484 h 590"/>
                  <a:gd name="T82" fmla="*/ 461 w 536"/>
                  <a:gd name="T83" fmla="*/ 550 h 590"/>
                  <a:gd name="T84" fmla="*/ 427 w 536"/>
                  <a:gd name="T85" fmla="*/ 515 h 590"/>
                  <a:gd name="T86" fmla="*/ 461 w 536"/>
                  <a:gd name="T87" fmla="*/ 481 h 590"/>
                  <a:gd name="T88" fmla="*/ 496 w 536"/>
                  <a:gd name="T89" fmla="*/ 515 h 590"/>
                  <a:gd name="T90" fmla="*/ 461 w 536"/>
                  <a:gd name="T91" fmla="*/ 55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6" h="590">
                    <a:moveTo>
                      <a:pt x="461" y="441"/>
                    </a:moveTo>
                    <a:cubicBezTo>
                      <a:pt x="439" y="441"/>
                      <a:pt x="418" y="451"/>
                      <a:pt x="404" y="467"/>
                    </a:cubicBezTo>
                    <a:lnTo>
                      <a:pt x="175" y="427"/>
                    </a:lnTo>
                    <a:lnTo>
                      <a:pt x="339" y="337"/>
                    </a:lnTo>
                    <a:cubicBezTo>
                      <a:pt x="351" y="346"/>
                      <a:pt x="366" y="350"/>
                      <a:pt x="381" y="350"/>
                    </a:cubicBezTo>
                    <a:cubicBezTo>
                      <a:pt x="423" y="350"/>
                      <a:pt x="456" y="317"/>
                      <a:pt x="456" y="275"/>
                    </a:cubicBezTo>
                    <a:cubicBezTo>
                      <a:pt x="456" y="234"/>
                      <a:pt x="423" y="201"/>
                      <a:pt x="381" y="201"/>
                    </a:cubicBezTo>
                    <a:cubicBezTo>
                      <a:pt x="375" y="201"/>
                      <a:pt x="368" y="202"/>
                      <a:pt x="362" y="203"/>
                    </a:cubicBezTo>
                    <a:lnTo>
                      <a:pt x="260" y="105"/>
                    </a:lnTo>
                    <a:cubicBezTo>
                      <a:pt x="264" y="96"/>
                      <a:pt x="267" y="86"/>
                      <a:pt x="267" y="75"/>
                    </a:cubicBezTo>
                    <a:cubicBezTo>
                      <a:pt x="267" y="34"/>
                      <a:pt x="233" y="0"/>
                      <a:pt x="192" y="0"/>
                    </a:cubicBezTo>
                    <a:cubicBezTo>
                      <a:pt x="150" y="0"/>
                      <a:pt x="117" y="34"/>
                      <a:pt x="117" y="75"/>
                    </a:cubicBezTo>
                    <a:cubicBezTo>
                      <a:pt x="117" y="116"/>
                      <a:pt x="150" y="150"/>
                      <a:pt x="192" y="150"/>
                    </a:cubicBezTo>
                    <a:cubicBezTo>
                      <a:pt x="198" y="150"/>
                      <a:pt x="203" y="149"/>
                      <a:pt x="209" y="148"/>
                    </a:cubicBezTo>
                    <a:lnTo>
                      <a:pt x="312" y="248"/>
                    </a:lnTo>
                    <a:cubicBezTo>
                      <a:pt x="308" y="256"/>
                      <a:pt x="307" y="266"/>
                      <a:pt x="307" y="275"/>
                    </a:cubicBezTo>
                    <a:cubicBezTo>
                      <a:pt x="307" y="277"/>
                      <a:pt x="307" y="278"/>
                      <a:pt x="307" y="279"/>
                    </a:cubicBezTo>
                    <a:lnTo>
                      <a:pt x="114" y="385"/>
                    </a:lnTo>
                    <a:cubicBezTo>
                      <a:pt x="102" y="378"/>
                      <a:pt x="89" y="374"/>
                      <a:pt x="75" y="374"/>
                    </a:cubicBezTo>
                    <a:cubicBezTo>
                      <a:pt x="34" y="374"/>
                      <a:pt x="0" y="407"/>
                      <a:pt x="0" y="449"/>
                    </a:cubicBezTo>
                    <a:cubicBezTo>
                      <a:pt x="0" y="490"/>
                      <a:pt x="34" y="524"/>
                      <a:pt x="75" y="524"/>
                    </a:cubicBezTo>
                    <a:cubicBezTo>
                      <a:pt x="101" y="524"/>
                      <a:pt x="125" y="510"/>
                      <a:pt x="138" y="489"/>
                    </a:cubicBezTo>
                    <a:lnTo>
                      <a:pt x="389" y="532"/>
                    </a:lnTo>
                    <a:cubicBezTo>
                      <a:pt x="396" y="565"/>
                      <a:pt x="426" y="590"/>
                      <a:pt x="462" y="590"/>
                    </a:cubicBezTo>
                    <a:cubicBezTo>
                      <a:pt x="503" y="590"/>
                      <a:pt x="536" y="557"/>
                      <a:pt x="536" y="515"/>
                    </a:cubicBezTo>
                    <a:cubicBezTo>
                      <a:pt x="536" y="474"/>
                      <a:pt x="503" y="441"/>
                      <a:pt x="461" y="441"/>
                    </a:cubicBezTo>
                    <a:close/>
                    <a:moveTo>
                      <a:pt x="416" y="275"/>
                    </a:moveTo>
                    <a:cubicBezTo>
                      <a:pt x="416" y="295"/>
                      <a:pt x="401" y="310"/>
                      <a:pt x="381" y="310"/>
                    </a:cubicBezTo>
                    <a:cubicBezTo>
                      <a:pt x="362" y="310"/>
                      <a:pt x="347" y="295"/>
                      <a:pt x="347" y="275"/>
                    </a:cubicBezTo>
                    <a:cubicBezTo>
                      <a:pt x="347" y="256"/>
                      <a:pt x="362" y="241"/>
                      <a:pt x="381" y="241"/>
                    </a:cubicBezTo>
                    <a:cubicBezTo>
                      <a:pt x="401" y="241"/>
                      <a:pt x="416" y="256"/>
                      <a:pt x="416" y="275"/>
                    </a:cubicBezTo>
                    <a:close/>
                    <a:moveTo>
                      <a:pt x="157" y="75"/>
                    </a:moveTo>
                    <a:cubicBezTo>
                      <a:pt x="157" y="56"/>
                      <a:pt x="172" y="40"/>
                      <a:pt x="192" y="40"/>
                    </a:cubicBezTo>
                    <a:cubicBezTo>
                      <a:pt x="211" y="40"/>
                      <a:pt x="227" y="56"/>
                      <a:pt x="227" y="75"/>
                    </a:cubicBezTo>
                    <a:cubicBezTo>
                      <a:pt x="227" y="94"/>
                      <a:pt x="211" y="110"/>
                      <a:pt x="192" y="110"/>
                    </a:cubicBezTo>
                    <a:cubicBezTo>
                      <a:pt x="172" y="110"/>
                      <a:pt x="157" y="94"/>
                      <a:pt x="157" y="75"/>
                    </a:cubicBezTo>
                    <a:close/>
                    <a:moveTo>
                      <a:pt x="75" y="484"/>
                    </a:moveTo>
                    <a:cubicBezTo>
                      <a:pt x="56" y="484"/>
                      <a:pt x="40" y="468"/>
                      <a:pt x="40" y="449"/>
                    </a:cubicBezTo>
                    <a:cubicBezTo>
                      <a:pt x="40" y="430"/>
                      <a:pt x="56" y="414"/>
                      <a:pt x="75" y="414"/>
                    </a:cubicBezTo>
                    <a:cubicBezTo>
                      <a:pt x="94" y="414"/>
                      <a:pt x="110" y="430"/>
                      <a:pt x="110" y="449"/>
                    </a:cubicBezTo>
                    <a:cubicBezTo>
                      <a:pt x="110" y="468"/>
                      <a:pt x="94" y="484"/>
                      <a:pt x="75" y="484"/>
                    </a:cubicBezTo>
                    <a:close/>
                    <a:moveTo>
                      <a:pt x="461" y="550"/>
                    </a:moveTo>
                    <a:cubicBezTo>
                      <a:pt x="442" y="550"/>
                      <a:pt x="427" y="535"/>
                      <a:pt x="427" y="515"/>
                    </a:cubicBezTo>
                    <a:cubicBezTo>
                      <a:pt x="427" y="496"/>
                      <a:pt x="442" y="481"/>
                      <a:pt x="461" y="481"/>
                    </a:cubicBezTo>
                    <a:cubicBezTo>
                      <a:pt x="481" y="481"/>
                      <a:pt x="496" y="496"/>
                      <a:pt x="496" y="515"/>
                    </a:cubicBezTo>
                    <a:cubicBezTo>
                      <a:pt x="496" y="535"/>
                      <a:pt x="481" y="550"/>
                      <a:pt x="461" y="550"/>
                    </a:cubicBezTo>
                    <a:close/>
                  </a:path>
                </a:pathLst>
              </a:custGeom>
              <a:solidFill>
                <a:srgbClr val="FFFFFF"/>
              </a:solidFill>
              <a:ln>
                <a:noFill/>
              </a:ln>
            </p:spPr>
            <p:txBody>
              <a:bodyPr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a:p>
            </p:txBody>
          </p:sp>
        </p:grpSp>
        <p:grpSp>
          <p:nvGrpSpPr>
            <p:cNvPr id="8" name="ïsḻíḍe">
              <a:extLst>
                <a:ext uri="{FF2B5EF4-FFF2-40B4-BE49-F238E27FC236}">
                  <a16:creationId xmlns:a16="http://schemas.microsoft.com/office/drawing/2014/main" id="{B5A19679-3B52-4132-881A-812D126BC21F}"/>
                </a:ext>
              </a:extLst>
            </p:cNvPr>
            <p:cNvGrpSpPr/>
            <p:nvPr/>
          </p:nvGrpSpPr>
          <p:grpSpPr>
            <a:xfrm>
              <a:off x="7636894" y="2653414"/>
              <a:ext cx="561088" cy="561086"/>
              <a:chOff x="8027816" y="2783842"/>
              <a:chExt cx="561088" cy="561086"/>
            </a:xfrm>
          </p:grpSpPr>
          <p:sp>
            <p:nvSpPr>
              <p:cNvPr id="24" name="ï$ľiḓé">
                <a:extLst>
                  <a:ext uri="{FF2B5EF4-FFF2-40B4-BE49-F238E27FC236}">
                    <a16:creationId xmlns:a16="http://schemas.microsoft.com/office/drawing/2014/main" id="{539312AD-52E9-4190-96B9-05E54E16F7B1}"/>
                  </a:ext>
                </a:extLst>
              </p:cNvPr>
              <p:cNvSpPr/>
              <p:nvPr/>
            </p:nvSpPr>
            <p:spPr>
              <a:xfrm>
                <a:off x="8027816" y="2783842"/>
                <a:ext cx="561088" cy="561086"/>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a:p>
            </p:txBody>
          </p:sp>
          <p:sp>
            <p:nvSpPr>
              <p:cNvPr id="25" name="ïṧľîḑe">
                <a:extLst>
                  <a:ext uri="{FF2B5EF4-FFF2-40B4-BE49-F238E27FC236}">
                    <a16:creationId xmlns:a16="http://schemas.microsoft.com/office/drawing/2014/main" id="{E185E289-1AED-4A08-9CE0-2659FCA0B9D2}"/>
                  </a:ext>
                </a:extLst>
              </p:cNvPr>
              <p:cNvSpPr/>
              <p:nvPr/>
            </p:nvSpPr>
            <p:spPr bwMode="auto">
              <a:xfrm>
                <a:off x="8177481" y="2950648"/>
                <a:ext cx="261758" cy="227475"/>
              </a:xfrm>
              <a:custGeom>
                <a:avLst/>
                <a:gdLst>
                  <a:gd name="connsiteX0" fmla="*/ 468425 w 609570"/>
                  <a:gd name="connsiteY0" fmla="*/ 313388 h 529735"/>
                  <a:gd name="connsiteX1" fmla="*/ 397381 w 609570"/>
                  <a:gd name="connsiteY1" fmla="*/ 384321 h 529735"/>
                  <a:gd name="connsiteX2" fmla="*/ 468425 w 609570"/>
                  <a:gd name="connsiteY2" fmla="*/ 455255 h 529735"/>
                  <a:gd name="connsiteX3" fmla="*/ 539470 w 609570"/>
                  <a:gd name="connsiteY3" fmla="*/ 384321 h 529735"/>
                  <a:gd name="connsiteX4" fmla="*/ 468425 w 609570"/>
                  <a:gd name="connsiteY4" fmla="*/ 313388 h 529735"/>
                  <a:gd name="connsiteX5" fmla="*/ 468425 w 609570"/>
                  <a:gd name="connsiteY5" fmla="*/ 285014 h 529735"/>
                  <a:gd name="connsiteX6" fmla="*/ 567887 w 609570"/>
                  <a:gd name="connsiteY6" fmla="*/ 384321 h 529735"/>
                  <a:gd name="connsiteX7" fmla="*/ 556639 w 609570"/>
                  <a:gd name="connsiteY7" fmla="*/ 430310 h 529735"/>
                  <a:gd name="connsiteX8" fmla="*/ 553915 w 609570"/>
                  <a:gd name="connsiteY8" fmla="*/ 435394 h 529735"/>
                  <a:gd name="connsiteX9" fmla="*/ 601515 w 609570"/>
                  <a:gd name="connsiteY9" fmla="*/ 482683 h 529735"/>
                  <a:gd name="connsiteX10" fmla="*/ 609567 w 609570"/>
                  <a:gd name="connsiteY10" fmla="*/ 502071 h 529735"/>
                  <a:gd name="connsiteX11" fmla="*/ 601633 w 609570"/>
                  <a:gd name="connsiteY11" fmla="*/ 521578 h 529735"/>
                  <a:gd name="connsiteX12" fmla="*/ 582096 w 609570"/>
                  <a:gd name="connsiteY12" fmla="*/ 529735 h 529735"/>
                  <a:gd name="connsiteX13" fmla="*/ 562677 w 609570"/>
                  <a:gd name="connsiteY13" fmla="*/ 521696 h 529735"/>
                  <a:gd name="connsiteX14" fmla="*/ 513657 w 609570"/>
                  <a:gd name="connsiteY14" fmla="*/ 472988 h 529735"/>
                  <a:gd name="connsiteX15" fmla="*/ 508684 w 609570"/>
                  <a:gd name="connsiteY15" fmla="*/ 475116 h 529735"/>
                  <a:gd name="connsiteX16" fmla="*/ 468425 w 609570"/>
                  <a:gd name="connsiteY16" fmla="*/ 483747 h 529735"/>
                  <a:gd name="connsiteX17" fmla="*/ 368845 w 609570"/>
                  <a:gd name="connsiteY17" fmla="*/ 384321 h 529735"/>
                  <a:gd name="connsiteX18" fmla="*/ 468425 w 609570"/>
                  <a:gd name="connsiteY18" fmla="*/ 285014 h 529735"/>
                  <a:gd name="connsiteX19" fmla="*/ 214632 w 609570"/>
                  <a:gd name="connsiteY19" fmla="*/ 275770 h 529735"/>
                  <a:gd name="connsiteX20" fmla="*/ 408821 w 609570"/>
                  <a:gd name="connsiteY20" fmla="*/ 275770 h 529735"/>
                  <a:gd name="connsiteX21" fmla="*/ 410479 w 609570"/>
                  <a:gd name="connsiteY21" fmla="*/ 275888 h 529735"/>
                  <a:gd name="connsiteX22" fmla="*/ 361576 w 609570"/>
                  <a:gd name="connsiteY22" fmla="*/ 323119 h 529735"/>
                  <a:gd name="connsiteX23" fmla="*/ 214632 w 609570"/>
                  <a:gd name="connsiteY23" fmla="*/ 323119 h 529735"/>
                  <a:gd name="connsiteX24" fmla="*/ 190950 w 609570"/>
                  <a:gd name="connsiteY24" fmla="*/ 299445 h 529735"/>
                  <a:gd name="connsiteX25" fmla="*/ 214632 w 609570"/>
                  <a:gd name="connsiteY25" fmla="*/ 275770 h 529735"/>
                  <a:gd name="connsiteX26" fmla="*/ 136157 w 609570"/>
                  <a:gd name="connsiteY26" fmla="*/ 270689 h 529735"/>
                  <a:gd name="connsiteX27" fmla="*/ 164913 w 609570"/>
                  <a:gd name="connsiteY27" fmla="*/ 299445 h 529735"/>
                  <a:gd name="connsiteX28" fmla="*/ 136157 w 609570"/>
                  <a:gd name="connsiteY28" fmla="*/ 328201 h 529735"/>
                  <a:gd name="connsiteX29" fmla="*/ 107401 w 609570"/>
                  <a:gd name="connsiteY29" fmla="*/ 299445 h 529735"/>
                  <a:gd name="connsiteX30" fmla="*/ 136157 w 609570"/>
                  <a:gd name="connsiteY30" fmla="*/ 270689 h 529735"/>
                  <a:gd name="connsiteX31" fmla="*/ 214631 w 609570"/>
                  <a:gd name="connsiteY31" fmla="*/ 181212 h 529735"/>
                  <a:gd name="connsiteX32" fmla="*/ 408814 w 609570"/>
                  <a:gd name="connsiteY32" fmla="*/ 181212 h 529735"/>
                  <a:gd name="connsiteX33" fmla="*/ 432495 w 609570"/>
                  <a:gd name="connsiteY33" fmla="*/ 204851 h 529735"/>
                  <a:gd name="connsiteX34" fmla="*/ 408814 w 609570"/>
                  <a:gd name="connsiteY34" fmla="*/ 228491 h 529735"/>
                  <a:gd name="connsiteX35" fmla="*/ 214631 w 609570"/>
                  <a:gd name="connsiteY35" fmla="*/ 228491 h 529735"/>
                  <a:gd name="connsiteX36" fmla="*/ 190950 w 609570"/>
                  <a:gd name="connsiteY36" fmla="*/ 204851 h 529735"/>
                  <a:gd name="connsiteX37" fmla="*/ 214631 w 609570"/>
                  <a:gd name="connsiteY37" fmla="*/ 181212 h 529735"/>
                  <a:gd name="connsiteX38" fmla="*/ 136157 w 609570"/>
                  <a:gd name="connsiteY38" fmla="*/ 176131 h 529735"/>
                  <a:gd name="connsiteX39" fmla="*/ 164913 w 609570"/>
                  <a:gd name="connsiteY39" fmla="*/ 204851 h 529735"/>
                  <a:gd name="connsiteX40" fmla="*/ 136157 w 609570"/>
                  <a:gd name="connsiteY40" fmla="*/ 233571 h 529735"/>
                  <a:gd name="connsiteX41" fmla="*/ 107401 w 609570"/>
                  <a:gd name="connsiteY41" fmla="*/ 204851 h 529735"/>
                  <a:gd name="connsiteX42" fmla="*/ 136157 w 609570"/>
                  <a:gd name="connsiteY42" fmla="*/ 176131 h 529735"/>
                  <a:gd name="connsiteX43" fmla="*/ 15748 w 609570"/>
                  <a:gd name="connsiteY43" fmla="*/ 0 h 529735"/>
                  <a:gd name="connsiteX44" fmla="*/ 500389 w 609570"/>
                  <a:gd name="connsiteY44" fmla="*/ 0 h 529735"/>
                  <a:gd name="connsiteX45" fmla="*/ 516256 w 609570"/>
                  <a:gd name="connsiteY45" fmla="*/ 15724 h 529735"/>
                  <a:gd name="connsiteX46" fmla="*/ 516256 w 609570"/>
                  <a:gd name="connsiteY46" fmla="*/ 271089 h 529735"/>
                  <a:gd name="connsiteX47" fmla="*/ 484641 w 609570"/>
                  <a:gd name="connsiteY47" fmla="*/ 262459 h 529735"/>
                  <a:gd name="connsiteX48" fmla="*/ 484641 w 609570"/>
                  <a:gd name="connsiteY48" fmla="*/ 121416 h 529735"/>
                  <a:gd name="connsiteX49" fmla="*/ 31615 w 609570"/>
                  <a:gd name="connsiteY49" fmla="*/ 121416 h 529735"/>
                  <a:gd name="connsiteX50" fmla="*/ 31615 w 609570"/>
                  <a:gd name="connsiteY50" fmla="*/ 393215 h 529735"/>
                  <a:gd name="connsiteX51" fmla="*/ 345513 w 609570"/>
                  <a:gd name="connsiteY51" fmla="*/ 393215 h 529735"/>
                  <a:gd name="connsiteX52" fmla="*/ 352025 w 609570"/>
                  <a:gd name="connsiteY52" fmla="*/ 424663 h 529735"/>
                  <a:gd name="connsiteX53" fmla="*/ 15748 w 609570"/>
                  <a:gd name="connsiteY53" fmla="*/ 424663 h 529735"/>
                  <a:gd name="connsiteX54" fmla="*/ 0 w 609570"/>
                  <a:gd name="connsiteY54" fmla="*/ 408939 h 529735"/>
                  <a:gd name="connsiteX55" fmla="*/ 0 w 609570"/>
                  <a:gd name="connsiteY55" fmla="*/ 15724 h 529735"/>
                  <a:gd name="connsiteX56" fmla="*/ 15748 w 609570"/>
                  <a:gd name="connsiteY56" fmla="*/ 0 h 52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9570" h="529735">
                    <a:moveTo>
                      <a:pt x="468425" y="313388"/>
                    </a:moveTo>
                    <a:cubicBezTo>
                      <a:pt x="429233" y="313388"/>
                      <a:pt x="397381" y="345190"/>
                      <a:pt x="397381" y="384321"/>
                    </a:cubicBezTo>
                    <a:cubicBezTo>
                      <a:pt x="397381" y="423453"/>
                      <a:pt x="429233" y="455255"/>
                      <a:pt x="468425" y="455255"/>
                    </a:cubicBezTo>
                    <a:cubicBezTo>
                      <a:pt x="507618" y="455255"/>
                      <a:pt x="539470" y="423453"/>
                      <a:pt x="539470" y="384321"/>
                    </a:cubicBezTo>
                    <a:cubicBezTo>
                      <a:pt x="539470" y="345308"/>
                      <a:pt x="507618" y="313388"/>
                      <a:pt x="468425" y="313388"/>
                    </a:cubicBezTo>
                    <a:close/>
                    <a:moveTo>
                      <a:pt x="468425" y="285014"/>
                    </a:moveTo>
                    <a:cubicBezTo>
                      <a:pt x="523248" y="285014"/>
                      <a:pt x="567887" y="329584"/>
                      <a:pt x="567887" y="384321"/>
                    </a:cubicBezTo>
                    <a:cubicBezTo>
                      <a:pt x="567887" y="400518"/>
                      <a:pt x="564098" y="416005"/>
                      <a:pt x="556639" y="430310"/>
                    </a:cubicBezTo>
                    <a:lnTo>
                      <a:pt x="553915" y="435394"/>
                    </a:lnTo>
                    <a:lnTo>
                      <a:pt x="601515" y="482683"/>
                    </a:lnTo>
                    <a:cubicBezTo>
                      <a:pt x="606725" y="487884"/>
                      <a:pt x="609567" y="494741"/>
                      <a:pt x="609567" y="502071"/>
                    </a:cubicBezTo>
                    <a:cubicBezTo>
                      <a:pt x="609685" y="509519"/>
                      <a:pt x="606843" y="516376"/>
                      <a:pt x="601633" y="521578"/>
                    </a:cubicBezTo>
                    <a:cubicBezTo>
                      <a:pt x="596423" y="526780"/>
                      <a:pt x="589437" y="529735"/>
                      <a:pt x="582096" y="529735"/>
                    </a:cubicBezTo>
                    <a:cubicBezTo>
                      <a:pt x="574755" y="529735"/>
                      <a:pt x="567887" y="526898"/>
                      <a:pt x="562677" y="521696"/>
                    </a:cubicBezTo>
                    <a:lnTo>
                      <a:pt x="513657" y="472988"/>
                    </a:lnTo>
                    <a:lnTo>
                      <a:pt x="508684" y="475116"/>
                    </a:lnTo>
                    <a:cubicBezTo>
                      <a:pt x="495896" y="480791"/>
                      <a:pt x="482397" y="483747"/>
                      <a:pt x="468425" y="483747"/>
                    </a:cubicBezTo>
                    <a:cubicBezTo>
                      <a:pt x="413484" y="483747"/>
                      <a:pt x="368845" y="439177"/>
                      <a:pt x="368845" y="384321"/>
                    </a:cubicBezTo>
                    <a:cubicBezTo>
                      <a:pt x="368845" y="329584"/>
                      <a:pt x="413484" y="285014"/>
                      <a:pt x="468425" y="285014"/>
                    </a:cubicBezTo>
                    <a:close/>
                    <a:moveTo>
                      <a:pt x="214632" y="275770"/>
                    </a:moveTo>
                    <a:lnTo>
                      <a:pt x="408821" y="275770"/>
                    </a:lnTo>
                    <a:cubicBezTo>
                      <a:pt x="409413" y="275770"/>
                      <a:pt x="409887" y="275770"/>
                      <a:pt x="410479" y="275888"/>
                    </a:cubicBezTo>
                    <a:cubicBezTo>
                      <a:pt x="390113" y="286661"/>
                      <a:pt x="373180" y="303114"/>
                      <a:pt x="361576" y="323119"/>
                    </a:cubicBezTo>
                    <a:lnTo>
                      <a:pt x="214632" y="323119"/>
                    </a:lnTo>
                    <a:cubicBezTo>
                      <a:pt x="201607" y="323119"/>
                      <a:pt x="190950" y="312466"/>
                      <a:pt x="190950" y="299445"/>
                    </a:cubicBezTo>
                    <a:cubicBezTo>
                      <a:pt x="190950" y="286305"/>
                      <a:pt x="201607" y="275770"/>
                      <a:pt x="214632" y="275770"/>
                    </a:cubicBezTo>
                    <a:close/>
                    <a:moveTo>
                      <a:pt x="136157" y="270689"/>
                    </a:moveTo>
                    <a:cubicBezTo>
                      <a:pt x="152039" y="270689"/>
                      <a:pt x="164913" y="283563"/>
                      <a:pt x="164913" y="299445"/>
                    </a:cubicBezTo>
                    <a:cubicBezTo>
                      <a:pt x="164913" y="315327"/>
                      <a:pt x="152039" y="328201"/>
                      <a:pt x="136157" y="328201"/>
                    </a:cubicBezTo>
                    <a:cubicBezTo>
                      <a:pt x="120275" y="328201"/>
                      <a:pt x="107401" y="315327"/>
                      <a:pt x="107401" y="299445"/>
                    </a:cubicBezTo>
                    <a:cubicBezTo>
                      <a:pt x="107401" y="283563"/>
                      <a:pt x="120275" y="270689"/>
                      <a:pt x="136157" y="270689"/>
                    </a:cubicBezTo>
                    <a:close/>
                    <a:moveTo>
                      <a:pt x="214631" y="181212"/>
                    </a:moveTo>
                    <a:lnTo>
                      <a:pt x="408814" y="181212"/>
                    </a:lnTo>
                    <a:cubicBezTo>
                      <a:pt x="421957" y="181212"/>
                      <a:pt x="432495" y="191731"/>
                      <a:pt x="432495" y="204851"/>
                    </a:cubicBezTo>
                    <a:cubicBezTo>
                      <a:pt x="432495" y="217853"/>
                      <a:pt x="421957" y="228491"/>
                      <a:pt x="408814" y="228491"/>
                    </a:cubicBezTo>
                    <a:lnTo>
                      <a:pt x="214631" y="228491"/>
                    </a:lnTo>
                    <a:cubicBezTo>
                      <a:pt x="201606" y="228491"/>
                      <a:pt x="190950" y="217853"/>
                      <a:pt x="190950" y="204851"/>
                    </a:cubicBezTo>
                    <a:cubicBezTo>
                      <a:pt x="190950" y="191731"/>
                      <a:pt x="201606" y="181212"/>
                      <a:pt x="214631" y="181212"/>
                    </a:cubicBezTo>
                    <a:close/>
                    <a:moveTo>
                      <a:pt x="136157" y="176131"/>
                    </a:moveTo>
                    <a:cubicBezTo>
                      <a:pt x="152039" y="176131"/>
                      <a:pt x="164913" y="188989"/>
                      <a:pt x="164913" y="204851"/>
                    </a:cubicBezTo>
                    <a:cubicBezTo>
                      <a:pt x="164913" y="220713"/>
                      <a:pt x="152039" y="233571"/>
                      <a:pt x="136157" y="233571"/>
                    </a:cubicBezTo>
                    <a:cubicBezTo>
                      <a:pt x="120275" y="233571"/>
                      <a:pt x="107401" y="220713"/>
                      <a:pt x="107401" y="204851"/>
                    </a:cubicBezTo>
                    <a:cubicBezTo>
                      <a:pt x="107401" y="188989"/>
                      <a:pt x="120275" y="176131"/>
                      <a:pt x="136157" y="176131"/>
                    </a:cubicBezTo>
                    <a:close/>
                    <a:moveTo>
                      <a:pt x="15748" y="0"/>
                    </a:moveTo>
                    <a:lnTo>
                      <a:pt x="500389" y="0"/>
                    </a:lnTo>
                    <a:cubicBezTo>
                      <a:pt x="509152" y="0"/>
                      <a:pt x="516256" y="7093"/>
                      <a:pt x="516256" y="15724"/>
                    </a:cubicBezTo>
                    <a:lnTo>
                      <a:pt x="516256" y="271089"/>
                    </a:lnTo>
                    <a:cubicBezTo>
                      <a:pt x="506310" y="266833"/>
                      <a:pt x="495653" y="263995"/>
                      <a:pt x="484641" y="262459"/>
                    </a:cubicBezTo>
                    <a:lnTo>
                      <a:pt x="484641" y="121416"/>
                    </a:lnTo>
                    <a:lnTo>
                      <a:pt x="31615" y="121416"/>
                    </a:lnTo>
                    <a:lnTo>
                      <a:pt x="31615" y="393215"/>
                    </a:lnTo>
                    <a:lnTo>
                      <a:pt x="345513" y="393215"/>
                    </a:lnTo>
                    <a:cubicBezTo>
                      <a:pt x="346341" y="404210"/>
                      <a:pt x="348591" y="414732"/>
                      <a:pt x="352025" y="424663"/>
                    </a:cubicBezTo>
                    <a:lnTo>
                      <a:pt x="15748" y="424663"/>
                    </a:lnTo>
                    <a:cubicBezTo>
                      <a:pt x="7104" y="424663"/>
                      <a:pt x="0" y="417688"/>
                      <a:pt x="0" y="408939"/>
                    </a:cubicBezTo>
                    <a:lnTo>
                      <a:pt x="0" y="15724"/>
                    </a:lnTo>
                    <a:cubicBezTo>
                      <a:pt x="0" y="7093"/>
                      <a:pt x="7104" y="0"/>
                      <a:pt x="15748" y="0"/>
                    </a:cubicBezTo>
                    <a:close/>
                  </a:path>
                </a:pathLst>
              </a:custGeom>
              <a:solidFill>
                <a:srgbClr val="FFFFFF"/>
              </a:solidFill>
              <a:ln>
                <a:noFill/>
              </a:ln>
            </p:spPr>
            <p:txBody>
              <a:bodyPr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endParaRPr/>
              </a:p>
            </p:txBody>
          </p:sp>
        </p:grpSp>
        <p:grpSp>
          <p:nvGrpSpPr>
            <p:cNvPr id="9" name="ïṩľiḋe">
              <a:extLst>
                <a:ext uri="{FF2B5EF4-FFF2-40B4-BE49-F238E27FC236}">
                  <a16:creationId xmlns:a16="http://schemas.microsoft.com/office/drawing/2014/main" id="{D2DE3FB8-0F66-457C-A73C-58AA17E86DCD}"/>
                </a:ext>
              </a:extLst>
            </p:cNvPr>
            <p:cNvGrpSpPr/>
            <p:nvPr/>
          </p:nvGrpSpPr>
          <p:grpSpPr>
            <a:xfrm>
              <a:off x="6163739" y="3660816"/>
              <a:ext cx="561088" cy="561086"/>
              <a:chOff x="6635083" y="3791244"/>
              <a:chExt cx="561088" cy="561086"/>
            </a:xfrm>
          </p:grpSpPr>
          <p:sp>
            <p:nvSpPr>
              <p:cNvPr id="22" name="ïṣľïdé">
                <a:extLst>
                  <a:ext uri="{FF2B5EF4-FFF2-40B4-BE49-F238E27FC236}">
                    <a16:creationId xmlns:a16="http://schemas.microsoft.com/office/drawing/2014/main" id="{F81B22EA-AE19-4EAA-B8A3-4BE406E5573E}"/>
                  </a:ext>
                </a:extLst>
              </p:cNvPr>
              <p:cNvSpPr/>
              <p:nvPr/>
            </p:nvSpPr>
            <p:spPr>
              <a:xfrm>
                <a:off x="6635083" y="3791244"/>
                <a:ext cx="561088" cy="561086"/>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a:p>
            </p:txBody>
          </p:sp>
          <p:sp>
            <p:nvSpPr>
              <p:cNvPr id="23" name="îṣ1ïďe">
                <a:extLst>
                  <a:ext uri="{FF2B5EF4-FFF2-40B4-BE49-F238E27FC236}">
                    <a16:creationId xmlns:a16="http://schemas.microsoft.com/office/drawing/2014/main" id="{3757CA64-0BE8-43DF-AC2D-594078BF1BF1}"/>
                  </a:ext>
                </a:extLst>
              </p:cNvPr>
              <p:cNvSpPr/>
              <p:nvPr/>
            </p:nvSpPr>
            <p:spPr bwMode="auto">
              <a:xfrm>
                <a:off x="6800195" y="3940909"/>
                <a:ext cx="230865" cy="261756"/>
              </a:xfrm>
              <a:custGeom>
                <a:avLst/>
                <a:gdLst>
                  <a:gd name="T0" fmla="*/ 2125 w 2288"/>
                  <a:gd name="T1" fmla="*/ 924 h 2598"/>
                  <a:gd name="T2" fmla="*/ 1863 w 2288"/>
                  <a:gd name="T3" fmla="*/ 1258 h 2598"/>
                  <a:gd name="T4" fmla="*/ 1848 w 2288"/>
                  <a:gd name="T5" fmla="*/ 1586 h 2598"/>
                  <a:gd name="T6" fmla="*/ 1899 w 2288"/>
                  <a:gd name="T7" fmla="*/ 1716 h 2598"/>
                  <a:gd name="T8" fmla="*/ 1211 w 2288"/>
                  <a:gd name="T9" fmla="*/ 2079 h 2598"/>
                  <a:gd name="T10" fmla="*/ 1176 w 2288"/>
                  <a:gd name="T11" fmla="*/ 2038 h 2598"/>
                  <a:gd name="T12" fmla="*/ 1200 w 2288"/>
                  <a:gd name="T13" fmla="*/ 965 h 2598"/>
                  <a:gd name="T14" fmla="*/ 1409 w 2288"/>
                  <a:gd name="T15" fmla="*/ 1012 h 2598"/>
                  <a:gd name="T16" fmla="*/ 1522 w 2288"/>
                  <a:gd name="T17" fmla="*/ 978 h 2598"/>
                  <a:gd name="T18" fmla="*/ 1526 w 2288"/>
                  <a:gd name="T19" fmla="*/ 847 h 2598"/>
                  <a:gd name="T20" fmla="*/ 1387 w 2288"/>
                  <a:gd name="T21" fmla="*/ 828 h 2598"/>
                  <a:gd name="T22" fmla="*/ 1193 w 2288"/>
                  <a:gd name="T23" fmla="*/ 584 h 2598"/>
                  <a:gd name="T24" fmla="*/ 1375 w 2288"/>
                  <a:gd name="T25" fmla="*/ 124 h 2598"/>
                  <a:gd name="T26" fmla="*/ 1109 w 2288"/>
                  <a:gd name="T27" fmla="*/ 37 h 2598"/>
                  <a:gd name="T28" fmla="*/ 1013 w 2288"/>
                  <a:gd name="T29" fmla="*/ 570 h 2598"/>
                  <a:gd name="T30" fmla="*/ 1056 w 2288"/>
                  <a:gd name="T31" fmla="*/ 808 h 2598"/>
                  <a:gd name="T32" fmla="*/ 891 w 2288"/>
                  <a:gd name="T33" fmla="*/ 784 h 2598"/>
                  <a:gd name="T34" fmla="*/ 748 w 2288"/>
                  <a:gd name="T35" fmla="*/ 921 h 2598"/>
                  <a:gd name="T36" fmla="*/ 899 w 2288"/>
                  <a:gd name="T37" fmla="*/ 946 h 2598"/>
                  <a:gd name="T38" fmla="*/ 1024 w 2288"/>
                  <a:gd name="T39" fmla="*/ 1479 h 2598"/>
                  <a:gd name="T40" fmla="*/ 1022 w 2288"/>
                  <a:gd name="T41" fmla="*/ 2081 h 2598"/>
                  <a:gd name="T42" fmla="*/ 434 w 2288"/>
                  <a:gd name="T43" fmla="*/ 1569 h 2598"/>
                  <a:gd name="T44" fmla="*/ 395 w 2288"/>
                  <a:gd name="T45" fmla="*/ 1470 h 2598"/>
                  <a:gd name="T46" fmla="*/ 88 w 2288"/>
                  <a:gd name="T47" fmla="*/ 1148 h 2598"/>
                  <a:gd name="T48" fmla="*/ 101 w 2288"/>
                  <a:gd name="T49" fmla="*/ 1658 h 2598"/>
                  <a:gd name="T50" fmla="*/ 906 w 2288"/>
                  <a:gd name="T51" fmla="*/ 2228 h 2598"/>
                  <a:gd name="T52" fmla="*/ 1177 w 2288"/>
                  <a:gd name="T53" fmla="*/ 2500 h 2598"/>
                  <a:gd name="T54" fmla="*/ 1223 w 2288"/>
                  <a:gd name="T55" fmla="*/ 2405 h 2598"/>
                  <a:gd name="T56" fmla="*/ 1273 w 2288"/>
                  <a:gd name="T57" fmla="*/ 2328 h 2598"/>
                  <a:gd name="T58" fmla="*/ 1280 w 2288"/>
                  <a:gd name="T59" fmla="*/ 2234 h 2598"/>
                  <a:gd name="T60" fmla="*/ 2094 w 2288"/>
                  <a:gd name="T61" fmla="*/ 1624 h 2598"/>
                  <a:gd name="T62" fmla="*/ 2274 w 2288"/>
                  <a:gd name="T63" fmla="*/ 1517 h 2598"/>
                  <a:gd name="T64" fmla="*/ 1065 w 2288"/>
                  <a:gd name="T65" fmla="*/ 420 h 2598"/>
                  <a:gd name="T66" fmla="*/ 1131 w 2288"/>
                  <a:gd name="T67" fmla="*/ 148 h 2598"/>
                  <a:gd name="T68" fmla="*/ 1165 w 2288"/>
                  <a:gd name="T69" fmla="*/ 430 h 2598"/>
                  <a:gd name="T70" fmla="*/ 1065 w 2288"/>
                  <a:gd name="T71" fmla="*/ 420 h 2598"/>
                  <a:gd name="T72" fmla="*/ 1040 w 2288"/>
                  <a:gd name="T73" fmla="*/ 2287 h 2598"/>
                  <a:gd name="T74" fmla="*/ 1032 w 2288"/>
                  <a:gd name="T75" fmla="*/ 2241 h 2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88" h="2598">
                    <a:moveTo>
                      <a:pt x="2281" y="1465"/>
                    </a:moveTo>
                    <a:cubicBezTo>
                      <a:pt x="2220" y="1286"/>
                      <a:pt x="2159" y="1111"/>
                      <a:pt x="2125" y="924"/>
                    </a:cubicBezTo>
                    <a:cubicBezTo>
                      <a:pt x="2112" y="850"/>
                      <a:pt x="2015" y="868"/>
                      <a:pt x="1992" y="924"/>
                    </a:cubicBezTo>
                    <a:cubicBezTo>
                      <a:pt x="1948" y="1035"/>
                      <a:pt x="1904" y="1146"/>
                      <a:pt x="1863" y="1258"/>
                    </a:cubicBezTo>
                    <a:cubicBezTo>
                      <a:pt x="1840" y="1319"/>
                      <a:pt x="1790" y="1411"/>
                      <a:pt x="1809" y="1480"/>
                    </a:cubicBezTo>
                    <a:cubicBezTo>
                      <a:pt x="1783" y="1516"/>
                      <a:pt x="1783" y="1565"/>
                      <a:pt x="1848" y="1586"/>
                    </a:cubicBezTo>
                    <a:cubicBezTo>
                      <a:pt x="1878" y="1596"/>
                      <a:pt x="1908" y="1602"/>
                      <a:pt x="1938" y="1607"/>
                    </a:cubicBezTo>
                    <a:cubicBezTo>
                      <a:pt x="1927" y="1644"/>
                      <a:pt x="1916" y="1681"/>
                      <a:pt x="1899" y="1716"/>
                    </a:cubicBezTo>
                    <a:cubicBezTo>
                      <a:pt x="1861" y="1789"/>
                      <a:pt x="1799" y="1850"/>
                      <a:pt x="1734" y="1899"/>
                    </a:cubicBezTo>
                    <a:cubicBezTo>
                      <a:pt x="1586" y="2012"/>
                      <a:pt x="1393" y="2062"/>
                      <a:pt x="1211" y="2079"/>
                    </a:cubicBezTo>
                    <a:cubicBezTo>
                      <a:pt x="1201" y="2080"/>
                      <a:pt x="1190" y="2080"/>
                      <a:pt x="1180" y="2081"/>
                    </a:cubicBezTo>
                    <a:cubicBezTo>
                      <a:pt x="1178" y="2066"/>
                      <a:pt x="1177" y="2052"/>
                      <a:pt x="1176" y="2038"/>
                    </a:cubicBezTo>
                    <a:cubicBezTo>
                      <a:pt x="1167" y="1852"/>
                      <a:pt x="1173" y="1665"/>
                      <a:pt x="1178" y="1479"/>
                    </a:cubicBezTo>
                    <a:cubicBezTo>
                      <a:pt x="1183" y="1309"/>
                      <a:pt x="1195" y="1137"/>
                      <a:pt x="1200" y="965"/>
                    </a:cubicBezTo>
                    <a:cubicBezTo>
                      <a:pt x="1262" y="972"/>
                      <a:pt x="1326" y="981"/>
                      <a:pt x="1388" y="979"/>
                    </a:cubicBezTo>
                    <a:cubicBezTo>
                      <a:pt x="1391" y="992"/>
                      <a:pt x="1399" y="1003"/>
                      <a:pt x="1409" y="1012"/>
                    </a:cubicBezTo>
                    <a:cubicBezTo>
                      <a:pt x="1434" y="1041"/>
                      <a:pt x="1476" y="1041"/>
                      <a:pt x="1501" y="1012"/>
                    </a:cubicBezTo>
                    <a:cubicBezTo>
                      <a:pt x="1511" y="1003"/>
                      <a:pt x="1519" y="991"/>
                      <a:pt x="1522" y="978"/>
                    </a:cubicBezTo>
                    <a:cubicBezTo>
                      <a:pt x="1528" y="956"/>
                      <a:pt x="1526" y="931"/>
                      <a:pt x="1526" y="908"/>
                    </a:cubicBezTo>
                    <a:lnTo>
                      <a:pt x="1526" y="847"/>
                    </a:lnTo>
                    <a:cubicBezTo>
                      <a:pt x="1526" y="809"/>
                      <a:pt x="1493" y="776"/>
                      <a:pt x="1455" y="776"/>
                    </a:cubicBezTo>
                    <a:cubicBezTo>
                      <a:pt x="1423" y="776"/>
                      <a:pt x="1395" y="799"/>
                      <a:pt x="1387" y="828"/>
                    </a:cubicBezTo>
                    <a:cubicBezTo>
                      <a:pt x="1327" y="813"/>
                      <a:pt x="1264" y="812"/>
                      <a:pt x="1202" y="810"/>
                    </a:cubicBezTo>
                    <a:cubicBezTo>
                      <a:pt x="1202" y="735"/>
                      <a:pt x="1199" y="659"/>
                      <a:pt x="1193" y="584"/>
                    </a:cubicBezTo>
                    <a:cubicBezTo>
                      <a:pt x="1297" y="558"/>
                      <a:pt x="1391" y="480"/>
                      <a:pt x="1431" y="385"/>
                    </a:cubicBezTo>
                    <a:cubicBezTo>
                      <a:pt x="1470" y="292"/>
                      <a:pt x="1441" y="197"/>
                      <a:pt x="1375" y="124"/>
                    </a:cubicBezTo>
                    <a:cubicBezTo>
                      <a:pt x="1315" y="57"/>
                      <a:pt x="1196" y="0"/>
                      <a:pt x="1109" y="37"/>
                    </a:cubicBezTo>
                    <a:cubicBezTo>
                      <a:pt x="1109" y="37"/>
                      <a:pt x="1109" y="37"/>
                      <a:pt x="1109" y="37"/>
                    </a:cubicBezTo>
                    <a:cubicBezTo>
                      <a:pt x="988" y="48"/>
                      <a:pt x="885" y="127"/>
                      <a:pt x="860" y="255"/>
                    </a:cubicBezTo>
                    <a:cubicBezTo>
                      <a:pt x="837" y="376"/>
                      <a:pt x="900" y="516"/>
                      <a:pt x="1013" y="570"/>
                    </a:cubicBezTo>
                    <a:cubicBezTo>
                      <a:pt x="1033" y="580"/>
                      <a:pt x="1055" y="586"/>
                      <a:pt x="1077" y="590"/>
                    </a:cubicBezTo>
                    <a:cubicBezTo>
                      <a:pt x="1068" y="662"/>
                      <a:pt x="1062" y="735"/>
                      <a:pt x="1056" y="808"/>
                    </a:cubicBezTo>
                    <a:cubicBezTo>
                      <a:pt x="1001" y="808"/>
                      <a:pt x="947" y="810"/>
                      <a:pt x="892" y="813"/>
                    </a:cubicBezTo>
                    <a:cubicBezTo>
                      <a:pt x="892" y="803"/>
                      <a:pt x="891" y="793"/>
                      <a:pt x="891" y="784"/>
                    </a:cubicBezTo>
                    <a:cubicBezTo>
                      <a:pt x="896" y="691"/>
                      <a:pt x="748" y="690"/>
                      <a:pt x="747" y="784"/>
                    </a:cubicBezTo>
                    <a:cubicBezTo>
                      <a:pt x="747" y="829"/>
                      <a:pt x="742" y="876"/>
                      <a:pt x="748" y="921"/>
                    </a:cubicBezTo>
                    <a:cubicBezTo>
                      <a:pt x="756" y="983"/>
                      <a:pt x="811" y="1002"/>
                      <a:pt x="851" y="981"/>
                    </a:cubicBezTo>
                    <a:cubicBezTo>
                      <a:pt x="872" y="980"/>
                      <a:pt x="891" y="967"/>
                      <a:pt x="899" y="946"/>
                    </a:cubicBezTo>
                    <a:cubicBezTo>
                      <a:pt x="948" y="949"/>
                      <a:pt x="998" y="951"/>
                      <a:pt x="1047" y="954"/>
                    </a:cubicBezTo>
                    <a:cubicBezTo>
                      <a:pt x="1037" y="1129"/>
                      <a:pt x="1031" y="1305"/>
                      <a:pt x="1024" y="1479"/>
                    </a:cubicBezTo>
                    <a:cubicBezTo>
                      <a:pt x="1017" y="1665"/>
                      <a:pt x="1014" y="1851"/>
                      <a:pt x="1021" y="2038"/>
                    </a:cubicBezTo>
                    <a:cubicBezTo>
                      <a:pt x="1022" y="2051"/>
                      <a:pt x="1022" y="2066"/>
                      <a:pt x="1022" y="2081"/>
                    </a:cubicBezTo>
                    <a:cubicBezTo>
                      <a:pt x="722" y="2061"/>
                      <a:pt x="421" y="1927"/>
                      <a:pt x="289" y="1649"/>
                    </a:cubicBezTo>
                    <a:cubicBezTo>
                      <a:pt x="342" y="1639"/>
                      <a:pt x="422" y="1633"/>
                      <a:pt x="434" y="1569"/>
                    </a:cubicBezTo>
                    <a:cubicBezTo>
                      <a:pt x="439" y="1539"/>
                      <a:pt x="429" y="1506"/>
                      <a:pt x="402" y="1492"/>
                    </a:cubicBezTo>
                    <a:cubicBezTo>
                      <a:pt x="401" y="1485"/>
                      <a:pt x="399" y="1478"/>
                      <a:pt x="395" y="1470"/>
                    </a:cubicBezTo>
                    <a:cubicBezTo>
                      <a:pt x="338" y="1362"/>
                      <a:pt x="258" y="1263"/>
                      <a:pt x="215" y="1148"/>
                    </a:cubicBezTo>
                    <a:cubicBezTo>
                      <a:pt x="192" y="1085"/>
                      <a:pt x="111" y="1085"/>
                      <a:pt x="88" y="1148"/>
                    </a:cubicBezTo>
                    <a:cubicBezTo>
                      <a:pt x="29" y="1306"/>
                      <a:pt x="0" y="1457"/>
                      <a:pt x="39" y="1624"/>
                    </a:cubicBezTo>
                    <a:cubicBezTo>
                      <a:pt x="45" y="1653"/>
                      <a:pt x="75" y="1663"/>
                      <a:pt x="101" y="1658"/>
                    </a:cubicBezTo>
                    <a:cubicBezTo>
                      <a:pt x="125" y="1661"/>
                      <a:pt x="149" y="1661"/>
                      <a:pt x="172" y="1661"/>
                    </a:cubicBezTo>
                    <a:cubicBezTo>
                      <a:pt x="253" y="2008"/>
                      <a:pt x="572" y="2179"/>
                      <a:pt x="906" y="2228"/>
                    </a:cubicBezTo>
                    <a:cubicBezTo>
                      <a:pt x="931" y="2337"/>
                      <a:pt x="982" y="2443"/>
                      <a:pt x="1043" y="2536"/>
                    </a:cubicBezTo>
                    <a:cubicBezTo>
                      <a:pt x="1083" y="2598"/>
                      <a:pt x="1172" y="2572"/>
                      <a:pt x="1177" y="2500"/>
                    </a:cubicBezTo>
                    <a:cubicBezTo>
                      <a:pt x="1177" y="2509"/>
                      <a:pt x="1185" y="2477"/>
                      <a:pt x="1189" y="2468"/>
                    </a:cubicBezTo>
                    <a:cubicBezTo>
                      <a:pt x="1199" y="2446"/>
                      <a:pt x="1211" y="2426"/>
                      <a:pt x="1223" y="2405"/>
                    </a:cubicBezTo>
                    <a:cubicBezTo>
                      <a:pt x="1234" y="2386"/>
                      <a:pt x="1247" y="2368"/>
                      <a:pt x="1259" y="2349"/>
                    </a:cubicBezTo>
                    <a:cubicBezTo>
                      <a:pt x="1264" y="2342"/>
                      <a:pt x="1268" y="2335"/>
                      <a:pt x="1273" y="2328"/>
                    </a:cubicBezTo>
                    <a:cubicBezTo>
                      <a:pt x="1277" y="2322"/>
                      <a:pt x="1293" y="2305"/>
                      <a:pt x="1277" y="2322"/>
                    </a:cubicBezTo>
                    <a:cubicBezTo>
                      <a:pt x="1304" y="2294"/>
                      <a:pt x="1300" y="2258"/>
                      <a:pt x="1280" y="2234"/>
                    </a:cubicBezTo>
                    <a:cubicBezTo>
                      <a:pt x="1483" y="2210"/>
                      <a:pt x="1683" y="2139"/>
                      <a:pt x="1845" y="2015"/>
                    </a:cubicBezTo>
                    <a:cubicBezTo>
                      <a:pt x="1948" y="1936"/>
                      <a:pt x="2086" y="1773"/>
                      <a:pt x="2094" y="1624"/>
                    </a:cubicBezTo>
                    <a:cubicBezTo>
                      <a:pt x="2146" y="1628"/>
                      <a:pt x="2201" y="1630"/>
                      <a:pt x="2245" y="1609"/>
                    </a:cubicBezTo>
                    <a:cubicBezTo>
                      <a:pt x="2278" y="1594"/>
                      <a:pt x="2287" y="1550"/>
                      <a:pt x="2274" y="1517"/>
                    </a:cubicBezTo>
                    <a:cubicBezTo>
                      <a:pt x="2284" y="1503"/>
                      <a:pt x="2288" y="1485"/>
                      <a:pt x="2281" y="1465"/>
                    </a:cubicBezTo>
                    <a:close/>
                    <a:moveTo>
                      <a:pt x="1065" y="420"/>
                    </a:moveTo>
                    <a:cubicBezTo>
                      <a:pt x="1019" y="392"/>
                      <a:pt x="1002" y="323"/>
                      <a:pt x="1010" y="274"/>
                    </a:cubicBezTo>
                    <a:cubicBezTo>
                      <a:pt x="1021" y="207"/>
                      <a:pt x="1073" y="171"/>
                      <a:pt x="1131" y="148"/>
                    </a:cubicBezTo>
                    <a:cubicBezTo>
                      <a:pt x="1208" y="195"/>
                      <a:pt x="1340" y="234"/>
                      <a:pt x="1280" y="343"/>
                    </a:cubicBezTo>
                    <a:cubicBezTo>
                      <a:pt x="1258" y="383"/>
                      <a:pt x="1213" y="417"/>
                      <a:pt x="1165" y="430"/>
                    </a:cubicBezTo>
                    <a:cubicBezTo>
                      <a:pt x="1148" y="418"/>
                      <a:pt x="1121" y="420"/>
                      <a:pt x="1105" y="434"/>
                    </a:cubicBezTo>
                    <a:cubicBezTo>
                      <a:pt x="1091" y="432"/>
                      <a:pt x="1077" y="428"/>
                      <a:pt x="1065" y="420"/>
                    </a:cubicBezTo>
                    <a:close/>
                    <a:moveTo>
                      <a:pt x="1032" y="2241"/>
                    </a:moveTo>
                    <a:cubicBezTo>
                      <a:pt x="1034" y="2257"/>
                      <a:pt x="1037" y="2272"/>
                      <a:pt x="1040" y="2287"/>
                    </a:cubicBezTo>
                    <a:cubicBezTo>
                      <a:pt x="1029" y="2271"/>
                      <a:pt x="1019" y="2255"/>
                      <a:pt x="1010" y="2239"/>
                    </a:cubicBezTo>
                    <a:cubicBezTo>
                      <a:pt x="1017" y="2240"/>
                      <a:pt x="1025" y="2241"/>
                      <a:pt x="1032" y="2241"/>
                    </a:cubicBezTo>
                    <a:close/>
                  </a:path>
                </a:pathLst>
              </a:custGeom>
              <a:solidFill>
                <a:srgbClr val="FFFFFF"/>
              </a:solidFill>
              <a:ln>
                <a:noFill/>
              </a:ln>
            </p:spPr>
            <p:txBody>
              <a:bodyPr anchor="ctr"/>
              <a:lstStyle/>
              <a:p>
                <a:pPr algn="ctr"/>
                <a:endParaRPr/>
              </a:p>
            </p:txBody>
          </p:sp>
        </p:grpSp>
        <p:grpSp>
          <p:nvGrpSpPr>
            <p:cNvPr id="10" name="îś1ídé">
              <a:extLst>
                <a:ext uri="{FF2B5EF4-FFF2-40B4-BE49-F238E27FC236}">
                  <a16:creationId xmlns:a16="http://schemas.microsoft.com/office/drawing/2014/main" id="{CB3B4B57-1092-43BB-922A-308CCB34E3CC}"/>
                </a:ext>
              </a:extLst>
            </p:cNvPr>
            <p:cNvGrpSpPr/>
            <p:nvPr/>
          </p:nvGrpSpPr>
          <p:grpSpPr>
            <a:xfrm>
              <a:off x="4423187" y="4646549"/>
              <a:ext cx="561088" cy="561086"/>
              <a:chOff x="4715448" y="4798647"/>
              <a:chExt cx="561088" cy="561086"/>
            </a:xfrm>
          </p:grpSpPr>
          <p:sp>
            <p:nvSpPr>
              <p:cNvPr id="20" name="îsḻîdé">
                <a:extLst>
                  <a:ext uri="{FF2B5EF4-FFF2-40B4-BE49-F238E27FC236}">
                    <a16:creationId xmlns:a16="http://schemas.microsoft.com/office/drawing/2014/main" id="{FBA91A1B-0929-4BED-A32A-8A3DDB4EAAD9}"/>
                  </a:ext>
                </a:extLst>
              </p:cNvPr>
              <p:cNvSpPr/>
              <p:nvPr/>
            </p:nvSpPr>
            <p:spPr>
              <a:xfrm>
                <a:off x="4715448" y="4798647"/>
                <a:ext cx="561088" cy="561086"/>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a:p>
            </p:txBody>
          </p:sp>
          <p:sp>
            <p:nvSpPr>
              <p:cNvPr id="21" name="íSḷídê">
                <a:extLst>
                  <a:ext uri="{FF2B5EF4-FFF2-40B4-BE49-F238E27FC236}">
                    <a16:creationId xmlns:a16="http://schemas.microsoft.com/office/drawing/2014/main" id="{5527A751-13BB-4FDA-9094-FE09F8337073}"/>
                  </a:ext>
                </a:extLst>
              </p:cNvPr>
              <p:cNvSpPr/>
              <p:nvPr/>
            </p:nvSpPr>
            <p:spPr bwMode="auto">
              <a:xfrm>
                <a:off x="4865113" y="4960822"/>
                <a:ext cx="261758" cy="236736"/>
              </a:xfrm>
              <a:custGeom>
                <a:avLst/>
                <a:gdLst>
                  <a:gd name="connsiteX0" fmla="*/ 503202 w 607568"/>
                  <a:gd name="connsiteY0" fmla="*/ 459310 h 549494"/>
                  <a:gd name="connsiteX1" fmla="*/ 548364 w 607568"/>
                  <a:gd name="connsiteY1" fmla="*/ 504402 h 549494"/>
                  <a:gd name="connsiteX2" fmla="*/ 503202 w 607568"/>
                  <a:gd name="connsiteY2" fmla="*/ 549494 h 549494"/>
                  <a:gd name="connsiteX3" fmla="*/ 458040 w 607568"/>
                  <a:gd name="connsiteY3" fmla="*/ 504402 h 549494"/>
                  <a:gd name="connsiteX4" fmla="*/ 503202 w 607568"/>
                  <a:gd name="connsiteY4" fmla="*/ 459310 h 549494"/>
                  <a:gd name="connsiteX5" fmla="*/ 197795 w 607568"/>
                  <a:gd name="connsiteY5" fmla="*/ 459310 h 549494"/>
                  <a:gd name="connsiteX6" fmla="*/ 242957 w 607568"/>
                  <a:gd name="connsiteY6" fmla="*/ 504402 h 549494"/>
                  <a:gd name="connsiteX7" fmla="*/ 197795 w 607568"/>
                  <a:gd name="connsiteY7" fmla="*/ 549494 h 549494"/>
                  <a:gd name="connsiteX8" fmla="*/ 152633 w 607568"/>
                  <a:gd name="connsiteY8" fmla="*/ 504402 h 549494"/>
                  <a:gd name="connsiteX9" fmla="*/ 197795 w 607568"/>
                  <a:gd name="connsiteY9" fmla="*/ 459310 h 549494"/>
                  <a:gd name="connsiteX10" fmla="*/ 143318 w 607568"/>
                  <a:gd name="connsiteY10" fmla="*/ 390791 h 549494"/>
                  <a:gd name="connsiteX11" fmla="*/ 554573 w 607568"/>
                  <a:gd name="connsiteY11" fmla="*/ 390791 h 549494"/>
                  <a:gd name="connsiteX12" fmla="*/ 554573 w 607568"/>
                  <a:gd name="connsiteY12" fmla="*/ 437435 h 549494"/>
                  <a:gd name="connsiteX13" fmla="*/ 143318 w 607568"/>
                  <a:gd name="connsiteY13" fmla="*/ 437435 h 549494"/>
                  <a:gd name="connsiteX14" fmla="*/ 115304 w 607568"/>
                  <a:gd name="connsiteY14" fmla="*/ 313028 h 549494"/>
                  <a:gd name="connsiteX15" fmla="*/ 582659 w 607568"/>
                  <a:gd name="connsiteY15" fmla="*/ 313028 h 549494"/>
                  <a:gd name="connsiteX16" fmla="*/ 582659 w 607568"/>
                  <a:gd name="connsiteY16" fmla="*/ 359672 h 549494"/>
                  <a:gd name="connsiteX17" fmla="*/ 115304 w 607568"/>
                  <a:gd name="connsiteY17" fmla="*/ 359672 h 549494"/>
                  <a:gd name="connsiteX18" fmla="*/ 0 w 607568"/>
                  <a:gd name="connsiteY18" fmla="*/ 169922 h 549494"/>
                  <a:gd name="connsiteX19" fmla="*/ 78962 w 607568"/>
                  <a:gd name="connsiteY19" fmla="*/ 169922 h 549494"/>
                  <a:gd name="connsiteX20" fmla="*/ 108516 w 607568"/>
                  <a:gd name="connsiteY20" fmla="*/ 235254 h 549494"/>
                  <a:gd name="connsiteX21" fmla="*/ 607568 w 607568"/>
                  <a:gd name="connsiteY21" fmla="*/ 235254 h 549494"/>
                  <a:gd name="connsiteX22" fmla="*/ 607568 w 607568"/>
                  <a:gd name="connsiteY22" fmla="*/ 281909 h 549494"/>
                  <a:gd name="connsiteX23" fmla="*/ 78428 w 607568"/>
                  <a:gd name="connsiteY23" fmla="*/ 281909 h 549494"/>
                  <a:gd name="connsiteX24" fmla="*/ 48798 w 607568"/>
                  <a:gd name="connsiteY24" fmla="*/ 216577 h 549494"/>
                  <a:gd name="connsiteX25" fmla="*/ 0 w 607568"/>
                  <a:gd name="connsiteY25" fmla="*/ 216577 h 549494"/>
                  <a:gd name="connsiteX26" fmla="*/ 257720 w 607568"/>
                  <a:gd name="connsiteY26" fmla="*/ 0 h 549494"/>
                  <a:gd name="connsiteX27" fmla="*/ 254207 w 607568"/>
                  <a:gd name="connsiteY27" fmla="*/ 30201 h 549494"/>
                  <a:gd name="connsiteX28" fmla="*/ 407797 w 607568"/>
                  <a:gd name="connsiteY28" fmla="*/ 197372 h 549494"/>
                  <a:gd name="connsiteX29" fmla="*/ 241147 w 607568"/>
                  <a:gd name="connsiteY29" fmla="*/ 144063 h 549494"/>
                  <a:gd name="connsiteX30" fmla="*/ 237633 w 607568"/>
                  <a:gd name="connsiteY30" fmla="*/ 174264 h 549494"/>
                  <a:gd name="connsiteX31" fmla="*/ 115586 w 607568"/>
                  <a:gd name="connsiteY31" fmla="*/ 71993 h 54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07568" h="549494">
                    <a:moveTo>
                      <a:pt x="503202" y="459310"/>
                    </a:moveTo>
                    <a:cubicBezTo>
                      <a:pt x="528144" y="459310"/>
                      <a:pt x="548364" y="479498"/>
                      <a:pt x="548364" y="504402"/>
                    </a:cubicBezTo>
                    <a:cubicBezTo>
                      <a:pt x="548364" y="529306"/>
                      <a:pt x="528144" y="549494"/>
                      <a:pt x="503202" y="549494"/>
                    </a:cubicBezTo>
                    <a:cubicBezTo>
                      <a:pt x="478260" y="549494"/>
                      <a:pt x="458040" y="529306"/>
                      <a:pt x="458040" y="504402"/>
                    </a:cubicBezTo>
                    <a:cubicBezTo>
                      <a:pt x="458040" y="479498"/>
                      <a:pt x="478260" y="459310"/>
                      <a:pt x="503202" y="459310"/>
                    </a:cubicBezTo>
                    <a:close/>
                    <a:moveTo>
                      <a:pt x="197795" y="459310"/>
                    </a:moveTo>
                    <a:cubicBezTo>
                      <a:pt x="222737" y="459310"/>
                      <a:pt x="242957" y="479498"/>
                      <a:pt x="242957" y="504402"/>
                    </a:cubicBezTo>
                    <a:cubicBezTo>
                      <a:pt x="242957" y="529306"/>
                      <a:pt x="222737" y="549494"/>
                      <a:pt x="197795" y="549494"/>
                    </a:cubicBezTo>
                    <a:cubicBezTo>
                      <a:pt x="172853" y="549494"/>
                      <a:pt x="152633" y="529306"/>
                      <a:pt x="152633" y="504402"/>
                    </a:cubicBezTo>
                    <a:cubicBezTo>
                      <a:pt x="152633" y="479498"/>
                      <a:pt x="172853" y="459310"/>
                      <a:pt x="197795" y="459310"/>
                    </a:cubicBezTo>
                    <a:close/>
                    <a:moveTo>
                      <a:pt x="143318" y="390791"/>
                    </a:moveTo>
                    <a:lnTo>
                      <a:pt x="554573" y="390791"/>
                    </a:lnTo>
                    <a:lnTo>
                      <a:pt x="554573" y="437435"/>
                    </a:lnTo>
                    <a:lnTo>
                      <a:pt x="143318" y="437435"/>
                    </a:lnTo>
                    <a:close/>
                    <a:moveTo>
                      <a:pt x="115304" y="313028"/>
                    </a:moveTo>
                    <a:lnTo>
                      <a:pt x="582659" y="313028"/>
                    </a:lnTo>
                    <a:lnTo>
                      <a:pt x="582659" y="359672"/>
                    </a:lnTo>
                    <a:lnTo>
                      <a:pt x="115304" y="359672"/>
                    </a:lnTo>
                    <a:close/>
                    <a:moveTo>
                      <a:pt x="0" y="169922"/>
                    </a:moveTo>
                    <a:lnTo>
                      <a:pt x="78962" y="169922"/>
                    </a:lnTo>
                    <a:lnTo>
                      <a:pt x="108516" y="235254"/>
                    </a:lnTo>
                    <a:lnTo>
                      <a:pt x="607568" y="235254"/>
                    </a:lnTo>
                    <a:lnTo>
                      <a:pt x="607568" y="281909"/>
                    </a:lnTo>
                    <a:lnTo>
                      <a:pt x="78428" y="281909"/>
                    </a:lnTo>
                    <a:lnTo>
                      <a:pt x="48798" y="216577"/>
                    </a:lnTo>
                    <a:lnTo>
                      <a:pt x="0" y="216577"/>
                    </a:lnTo>
                    <a:close/>
                    <a:moveTo>
                      <a:pt x="257720" y="0"/>
                    </a:moveTo>
                    <a:lnTo>
                      <a:pt x="254207" y="30201"/>
                    </a:lnTo>
                    <a:cubicBezTo>
                      <a:pt x="405964" y="47665"/>
                      <a:pt x="407797" y="197372"/>
                      <a:pt x="407797" y="197372"/>
                    </a:cubicBezTo>
                    <a:cubicBezTo>
                      <a:pt x="407797" y="197372"/>
                      <a:pt x="364340" y="158248"/>
                      <a:pt x="241147" y="144063"/>
                    </a:cubicBezTo>
                    <a:lnTo>
                      <a:pt x="237633" y="174264"/>
                    </a:lnTo>
                    <a:lnTo>
                      <a:pt x="115586" y="71993"/>
                    </a:lnTo>
                    <a:close/>
                  </a:path>
                </a:pathLst>
              </a:custGeom>
              <a:solidFill>
                <a:srgbClr val="FFFFFF"/>
              </a:solidFill>
              <a:ln>
                <a:noFill/>
              </a:ln>
            </p:spPr>
            <p:txBody>
              <a:bodyPr anchor="ctr"/>
              <a:lstStyle/>
              <a:p>
                <a:pPr algn="ctr"/>
                <a:endParaRPr/>
              </a:p>
            </p:txBody>
          </p:sp>
        </p:grpSp>
        <p:sp>
          <p:nvSpPr>
            <p:cNvPr id="11" name="iśḷidé">
              <a:extLst>
                <a:ext uri="{FF2B5EF4-FFF2-40B4-BE49-F238E27FC236}">
                  <a16:creationId xmlns:a16="http://schemas.microsoft.com/office/drawing/2014/main" id="{48D9846A-64B8-4124-8136-9CCD6596C3A7}"/>
                </a:ext>
              </a:extLst>
            </p:cNvPr>
            <p:cNvSpPr txBox="1"/>
            <p:nvPr/>
          </p:nvSpPr>
          <p:spPr>
            <a:xfrm>
              <a:off x="1506072" y="1774006"/>
              <a:ext cx="5185854" cy="2271483"/>
            </a:xfrm>
            <a:prstGeom prst="rect">
              <a:avLst/>
            </a:prstGeom>
            <a:noFill/>
          </p:spPr>
          <p:txBody>
            <a:bodyPr wrap="square" lIns="90000" tIns="46800" rIns="90000" bIns="46800" rtlCol="0">
              <a:normAutofit/>
            </a:bodyPr>
            <a:lstStyle/>
            <a:p>
              <a:pPr>
                <a:lnSpc>
                  <a:spcPct val="150000"/>
                </a:lnSpc>
              </a:pPr>
              <a:r>
                <a:rPr lang="en-US" altLang="zh-CN" sz="1700" b="1" dirty="0"/>
                <a:t>《</a:t>
              </a:r>
              <a:r>
                <a:rPr lang="zh-CN" altLang="en-US" sz="1700" b="1" dirty="0"/>
                <a:t>地牢勇士</a:t>
              </a:r>
              <a:r>
                <a:rPr lang="en-US" altLang="zh-CN" sz="1700" b="1" dirty="0"/>
                <a:t>》</a:t>
              </a:r>
              <a:r>
                <a:rPr lang="zh-CN" altLang="en-US" sz="1700" b="1" dirty="0"/>
                <a:t>的肉鸽元素体现在战斗结束获得的奖励上。玩家在战斗胜利之后可以从获得卡牌、删除卡牌、获得血量上限等奖励中选取一项，提升角色能力，以在接下来的战斗中面对更加强大的敌人。</a:t>
              </a:r>
              <a:endParaRPr lang="en-US" altLang="zh-CN" sz="1700" b="1" dirty="0"/>
            </a:p>
            <a:p>
              <a:pPr>
                <a:lnSpc>
                  <a:spcPct val="150000"/>
                </a:lnSpc>
              </a:pPr>
              <a:endParaRPr lang="zh-CN" altLang="en-US" sz="1700" b="1" dirty="0"/>
            </a:p>
          </p:txBody>
        </p:sp>
      </p:grpSp>
      <p:sp>
        <p:nvSpPr>
          <p:cNvPr id="29" name="文本框 28">
            <a:extLst>
              <a:ext uri="{FF2B5EF4-FFF2-40B4-BE49-F238E27FC236}">
                <a16:creationId xmlns:a16="http://schemas.microsoft.com/office/drawing/2014/main" id="{A86CA6BC-47E4-3CF4-F309-355C350C5EAA}"/>
              </a:ext>
            </a:extLst>
          </p:cNvPr>
          <p:cNvSpPr txBox="1"/>
          <p:nvPr/>
        </p:nvSpPr>
        <p:spPr>
          <a:xfrm>
            <a:off x="5426723" y="4676667"/>
            <a:ext cx="6096000" cy="873957"/>
          </a:xfrm>
          <a:prstGeom prst="rect">
            <a:avLst/>
          </a:prstGeom>
          <a:noFill/>
        </p:spPr>
        <p:txBody>
          <a:bodyPr wrap="square">
            <a:spAutoFit/>
          </a:bodyPr>
          <a:lstStyle/>
          <a:p>
            <a:pPr>
              <a:lnSpc>
                <a:spcPct val="150000"/>
              </a:lnSpc>
            </a:pPr>
            <a:r>
              <a:rPr lang="zh-CN" altLang="en-US" sz="1800" b="1" dirty="0"/>
              <a:t>怪物的数值设计需要玩家在战斗中强化自身，否则怪物会越来越难以对付。</a:t>
            </a:r>
            <a:endParaRPr lang="en-US" altLang="zh-CN" sz="1800" b="1" dirty="0"/>
          </a:p>
        </p:txBody>
      </p:sp>
    </p:spTree>
    <p:extLst>
      <p:ext uri="{BB962C8B-B14F-4D97-AF65-F5344CB8AC3E}">
        <p14:creationId xmlns:p14="http://schemas.microsoft.com/office/powerpoint/2010/main" val="1079354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技术实现</a:t>
            </a:r>
          </a:p>
        </p:txBody>
      </p:sp>
      <p:sp>
        <p:nvSpPr>
          <p:cNvPr id="6" name="文本占位符 5"/>
          <p:cNvSpPr>
            <a:spLocks noGrp="1"/>
          </p:cNvSpPr>
          <p:nvPr>
            <p:ph type="body" idx="1"/>
          </p:nvPr>
        </p:nvSpPr>
        <p:spPr/>
        <p:txBody>
          <a:bodyPr/>
          <a:lstStyle/>
          <a:p>
            <a:pPr lvl="0">
              <a:lnSpc>
                <a:spcPct val="100000"/>
              </a:lnSpc>
            </a:pPr>
            <a:r>
              <a:rPr lang="en-US" altLang="zh-CN" dirty="0"/>
              <a:t>UI</a:t>
            </a:r>
            <a:r>
              <a:rPr lang="zh-CN" altLang="en-US" dirty="0"/>
              <a:t>、音效、信息配置、战斗逻辑、卡牌管理</a:t>
            </a:r>
          </a:p>
        </p:txBody>
      </p:sp>
      <p:sp>
        <p:nvSpPr>
          <p:cNvPr id="9" name="文本框 8">
            <a:extLst>
              <a:ext uri="{FF2B5EF4-FFF2-40B4-BE49-F238E27FC236}">
                <a16:creationId xmlns:a16="http://schemas.microsoft.com/office/drawing/2014/main" id="{04F69230-F3A6-4586-9371-A858F4763E9F}"/>
              </a:ext>
            </a:extLst>
          </p:cNvPr>
          <p:cNvSpPr txBox="1"/>
          <p:nvPr/>
        </p:nvSpPr>
        <p:spPr>
          <a:xfrm>
            <a:off x="4155896" y="2212424"/>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83864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f9a72e28-c8c7-49c6-8a52-922a2369ddba"/>
</p:tagLst>
</file>

<file path=ppt/tags/tag10.xml><?xml version="1.0" encoding="utf-8"?>
<p:tagLst xmlns:a="http://schemas.openxmlformats.org/drawingml/2006/main" xmlns:r="http://schemas.openxmlformats.org/officeDocument/2006/relationships" xmlns:p="http://schemas.openxmlformats.org/presentationml/2006/main">
  <p:tag name="ISLIDE.DIAGRAM" val="0fd8bebb-7a96-4533-9b50-1fdcac53c87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3089"/>
</p:tagLst>
</file>

<file path=ppt/tags/tag5.xml><?xml version="1.0" encoding="utf-8"?>
<p:tagLst xmlns:a="http://schemas.openxmlformats.org/drawingml/2006/main" xmlns:r="http://schemas.openxmlformats.org/officeDocument/2006/relationships" xmlns:p="http://schemas.openxmlformats.org/presentationml/2006/main">
  <p:tag name="ISLIDE.DIAGRAM" val="cbc49400-e200-43b7-9b64-94f3d0a81203"/>
</p:tagLst>
</file>

<file path=ppt/tags/tag6.xml><?xml version="1.0" encoding="utf-8"?>
<p:tagLst xmlns:a="http://schemas.openxmlformats.org/drawingml/2006/main" xmlns:r="http://schemas.openxmlformats.org/officeDocument/2006/relationships" xmlns:p="http://schemas.openxmlformats.org/presentationml/2006/main">
  <p:tag name="ISLIDE.DIAGRAM" val="80eb4a01-e2b5-427d-b3ab-99ed35253e38"/>
</p:tagLst>
</file>

<file path=ppt/tags/tag7.xml><?xml version="1.0" encoding="utf-8"?>
<p:tagLst xmlns:a="http://schemas.openxmlformats.org/drawingml/2006/main" xmlns:r="http://schemas.openxmlformats.org/officeDocument/2006/relationships" xmlns:p="http://schemas.openxmlformats.org/presentationml/2006/main">
  <p:tag name="ISLIDE.DIAGRAM" val="6dd8057e-972d-470c-93f4-a779b00206d8"/>
</p:tagLst>
</file>

<file path=ppt/tags/tag8.xml><?xml version="1.0" encoding="utf-8"?>
<p:tagLst xmlns:a="http://schemas.openxmlformats.org/drawingml/2006/main" xmlns:r="http://schemas.openxmlformats.org/officeDocument/2006/relationships" xmlns:p="http://schemas.openxmlformats.org/presentationml/2006/main">
  <p:tag name="ISLIDE.DIAGRAM" val="4f9b76c4-aece-4de7-a5b9-9199462f377b"/>
</p:tagLst>
</file>

<file path=ppt/tags/tag9.xml><?xml version="1.0" encoding="utf-8"?>
<p:tagLst xmlns:a="http://schemas.openxmlformats.org/drawingml/2006/main" xmlns:r="http://schemas.openxmlformats.org/officeDocument/2006/relationships" xmlns:p="http://schemas.openxmlformats.org/presentationml/2006/main">
  <p:tag name="ISLIDE.DIAGRAM" val="22440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5E2D54"/>
      </a:accent1>
      <a:accent2>
        <a:srgbClr val="361E43"/>
      </a:accent2>
      <a:accent3>
        <a:srgbClr val="B15B6E"/>
      </a:accent3>
      <a:accent4>
        <a:srgbClr val="FF8B8C"/>
      </a:accent4>
      <a:accent5>
        <a:srgbClr val="777777"/>
      </a:accent5>
      <a:accent6>
        <a:srgbClr val="585858"/>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5E2D54"/>
    </a:accent1>
    <a:accent2>
      <a:srgbClr val="361E43"/>
    </a:accent2>
    <a:accent3>
      <a:srgbClr val="B15B6E"/>
    </a:accent3>
    <a:accent4>
      <a:srgbClr val="FF8B8C"/>
    </a:accent4>
    <a:accent5>
      <a:srgbClr val="777777"/>
    </a:accent5>
    <a:accent6>
      <a:srgbClr val="585858"/>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5E2D54"/>
    </a:accent1>
    <a:accent2>
      <a:srgbClr val="361E43"/>
    </a:accent2>
    <a:accent3>
      <a:srgbClr val="B15B6E"/>
    </a:accent3>
    <a:accent4>
      <a:srgbClr val="FF8B8C"/>
    </a:accent4>
    <a:accent5>
      <a:srgbClr val="777777"/>
    </a:accent5>
    <a:accent6>
      <a:srgbClr val="585858"/>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5E2D54"/>
    </a:accent1>
    <a:accent2>
      <a:srgbClr val="361E43"/>
    </a:accent2>
    <a:accent3>
      <a:srgbClr val="B15B6E"/>
    </a:accent3>
    <a:accent4>
      <a:srgbClr val="FF8B8C"/>
    </a:accent4>
    <a:accent5>
      <a:srgbClr val="777777"/>
    </a:accent5>
    <a:accent6>
      <a:srgbClr val="585858"/>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5E2D54"/>
    </a:accent1>
    <a:accent2>
      <a:srgbClr val="361E43"/>
    </a:accent2>
    <a:accent3>
      <a:srgbClr val="B15B6E"/>
    </a:accent3>
    <a:accent4>
      <a:srgbClr val="FF8B8C"/>
    </a:accent4>
    <a:accent5>
      <a:srgbClr val="777777"/>
    </a:accent5>
    <a:accent6>
      <a:srgbClr val="585858"/>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5E2D54"/>
    </a:accent1>
    <a:accent2>
      <a:srgbClr val="361E43"/>
    </a:accent2>
    <a:accent3>
      <a:srgbClr val="B15B6E"/>
    </a:accent3>
    <a:accent4>
      <a:srgbClr val="FF8B8C"/>
    </a:accent4>
    <a:accent5>
      <a:srgbClr val="777777"/>
    </a:accent5>
    <a:accent6>
      <a:srgbClr val="585858"/>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251</TotalTime>
  <Words>1024</Words>
  <Application>Microsoft Office PowerPoint</Application>
  <PresentationFormat>宽屏</PresentationFormat>
  <Paragraphs>104</Paragraphs>
  <Slides>16</Slides>
  <Notes>0</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6</vt:i4>
      </vt:variant>
    </vt:vector>
  </HeadingPairs>
  <TitlesOfParts>
    <vt:vector size="21" baseType="lpstr">
      <vt:lpstr>Arial</vt:lpstr>
      <vt:lpstr>Calibri</vt:lpstr>
      <vt:lpstr>Impact</vt:lpstr>
      <vt:lpstr>主题5</vt:lpstr>
      <vt:lpstr>think-cell Slide</vt:lpstr>
      <vt:lpstr>地牢勇士</vt:lpstr>
      <vt:lpstr>PowerPoint 演示文稿</vt:lpstr>
      <vt:lpstr>游戏介绍</vt:lpstr>
      <vt:lpstr>地牢勇士</vt:lpstr>
      <vt:lpstr>玩法设计</vt:lpstr>
      <vt:lpstr>卡牌系统</vt:lpstr>
      <vt:lpstr>对战模式</vt:lpstr>
      <vt:lpstr>Roguelike系统</vt:lpstr>
      <vt:lpstr>技术实现</vt:lpstr>
      <vt:lpstr>UI管理系统</vt:lpstr>
      <vt:lpstr>音效管理系统</vt:lpstr>
      <vt:lpstr>信息配置系统</vt:lpstr>
      <vt:lpstr>战斗逻辑系统</vt:lpstr>
      <vt:lpstr>卡牌管理系统</vt:lpstr>
      <vt:lpstr>分工情况</vt:lpstr>
      <vt:lpstr>感谢聆听</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璐辰 郑</cp:lastModifiedBy>
  <cp:revision>19</cp:revision>
  <cp:lastPrinted>2018-06-26T16:00:00Z</cp:lastPrinted>
  <dcterms:created xsi:type="dcterms:W3CDTF">2018-06-26T16:00:00Z</dcterms:created>
  <dcterms:modified xsi:type="dcterms:W3CDTF">2024-06-15T15:2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